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919" r:id="rId2"/>
    <p:sldMasterId id="2147483964" r:id="rId3"/>
    <p:sldMasterId id="2147484026" r:id="rId4"/>
    <p:sldMasterId id="2147484038" r:id="rId5"/>
    <p:sldMasterId id="2147484081" r:id="rId6"/>
    <p:sldMasterId id="2147484123" r:id="rId7"/>
  </p:sldMasterIdLst>
  <p:notesMasterIdLst>
    <p:notesMasterId r:id="rId20"/>
  </p:notesMasterIdLst>
  <p:handoutMasterIdLst>
    <p:handoutMasterId r:id="rId21"/>
  </p:handoutMasterIdLst>
  <p:sldIdLst>
    <p:sldId id="2145705870" r:id="rId8"/>
    <p:sldId id="2145705871" r:id="rId9"/>
    <p:sldId id="256" r:id="rId10"/>
    <p:sldId id="4241" r:id="rId11"/>
    <p:sldId id="2145705872" r:id="rId12"/>
    <p:sldId id="2145705867" r:id="rId13"/>
    <p:sldId id="606" r:id="rId14"/>
    <p:sldId id="2145705869" r:id="rId15"/>
    <p:sldId id="603" r:id="rId16"/>
    <p:sldId id="604" r:id="rId17"/>
    <p:sldId id="608" r:id="rId18"/>
    <p:sldId id="529" r:id="rId19"/>
  </p:sldIdLst>
  <p:sldSz cx="12192000" cy="6858000"/>
  <p:notesSz cx="6858000" cy="9144000"/>
  <p:custShowLst>
    <p:custShow name="PerformanceTuning"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4C6A"/>
    <a:srgbClr val="FFDF6B"/>
    <a:srgbClr val="A0EE73"/>
    <a:srgbClr val="000000"/>
    <a:srgbClr val="5B6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D0B236-5B55-4CA7-A112-AEFF9BA1B612}" v="80" dt="2024-04-20T12:25:37.180"/>
    <p1510:client id="{FAA73145-5ECD-4065-9212-4C2F076478EF}" v="2" dt="2024-04-19T20:53:41.434"/>
  </p1510:revLst>
</p1510:revInfo>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29" autoAdjust="0"/>
    <p:restoredTop sz="70062" autoAdjust="0"/>
  </p:normalViewPr>
  <p:slideViewPr>
    <p:cSldViewPr snapToGrid="0">
      <p:cViewPr varScale="1">
        <p:scale>
          <a:sx n="108" d="100"/>
          <a:sy n="108" d="100"/>
        </p:scale>
        <p:origin x="68" y="23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7D464C91-7939-4DA2-A82F-F0B6AC8C407F}"/>
    <pc:docChg chg="undo custSel delSld modSld sldOrd delMainMaster">
      <pc:chgData name="John Deardurff" userId="a22eae058e899168" providerId="LiveId" clId="{7D464C91-7939-4DA2-A82F-F0B6AC8C407F}" dt="2024-04-19T11:04:32.288" v="203" actId="164"/>
      <pc:docMkLst>
        <pc:docMk/>
      </pc:docMkLst>
      <pc:sldChg chg="ord">
        <pc:chgData name="John Deardurff" userId="a22eae058e899168" providerId="LiveId" clId="{7D464C91-7939-4DA2-A82F-F0B6AC8C407F}" dt="2024-04-19T10:57:02.036" v="1"/>
        <pc:sldMkLst>
          <pc:docMk/>
          <pc:sldMk cId="2423938126" sldId="256"/>
        </pc:sldMkLst>
      </pc:sldChg>
      <pc:sldChg chg="modSp mod ord">
        <pc:chgData name="John Deardurff" userId="a22eae058e899168" providerId="LiveId" clId="{7D464C91-7939-4DA2-A82F-F0B6AC8C407F}" dt="2024-04-19T10:58:34.263" v="170" actId="20577"/>
        <pc:sldMkLst>
          <pc:docMk/>
          <pc:sldMk cId="2768309331" sldId="257"/>
        </pc:sldMkLst>
        <pc:spChg chg="mod">
          <ac:chgData name="John Deardurff" userId="a22eae058e899168" providerId="LiveId" clId="{7D464C91-7939-4DA2-A82F-F0B6AC8C407F}" dt="2024-04-19T10:57:35.049" v="58" actId="1076"/>
          <ac:spMkLst>
            <pc:docMk/>
            <pc:sldMk cId="2768309331" sldId="257"/>
            <ac:spMk id="6" creationId="{4B20852E-9E57-66C5-C88B-6B6D14B02752}"/>
          </ac:spMkLst>
        </pc:spChg>
        <pc:spChg chg="mod">
          <ac:chgData name="John Deardurff" userId="a22eae058e899168" providerId="LiveId" clId="{7D464C91-7939-4DA2-A82F-F0B6AC8C407F}" dt="2024-04-19T10:58:34.263" v="170" actId="20577"/>
          <ac:spMkLst>
            <pc:docMk/>
            <pc:sldMk cId="2768309331" sldId="257"/>
            <ac:spMk id="7" creationId="{7A1B7876-2DE6-96A3-D470-893A41DC0329}"/>
          </ac:spMkLst>
        </pc:spChg>
      </pc:sldChg>
      <pc:sldChg chg="del">
        <pc:chgData name="John Deardurff" userId="a22eae058e899168" providerId="LiveId" clId="{7D464C91-7939-4DA2-A82F-F0B6AC8C407F}" dt="2024-04-19T10:58:46.737" v="172" actId="47"/>
        <pc:sldMkLst>
          <pc:docMk/>
          <pc:sldMk cId="2405206243" sldId="11112"/>
        </pc:sldMkLst>
      </pc:sldChg>
      <pc:sldChg chg="del">
        <pc:chgData name="John Deardurff" userId="a22eae058e899168" providerId="LiveId" clId="{7D464C91-7939-4DA2-A82F-F0B6AC8C407F}" dt="2024-04-19T10:58:43.448" v="171" actId="47"/>
        <pc:sldMkLst>
          <pc:docMk/>
          <pc:sldMk cId="4125709986" sldId="2103813174"/>
        </pc:sldMkLst>
      </pc:sldChg>
      <pc:sldChg chg="addSp delSp modSp mod">
        <pc:chgData name="John Deardurff" userId="a22eae058e899168" providerId="LiveId" clId="{7D464C91-7939-4DA2-A82F-F0B6AC8C407F}" dt="2024-04-19T11:04:32.288" v="203" actId="164"/>
        <pc:sldMkLst>
          <pc:docMk/>
          <pc:sldMk cId="3430650572" sldId="2145705865"/>
        </pc:sldMkLst>
        <pc:grpChg chg="add del">
          <ac:chgData name="John Deardurff" userId="a22eae058e899168" providerId="LiveId" clId="{7D464C91-7939-4DA2-A82F-F0B6AC8C407F}" dt="2024-04-19T11:02:44.684" v="185" actId="165"/>
          <ac:grpSpMkLst>
            <pc:docMk/>
            <pc:sldMk cId="3430650572" sldId="2145705865"/>
            <ac:grpSpMk id="7" creationId="{482B3EBE-B34D-EA8A-4D61-F4A60064B0F6}"/>
          </ac:grpSpMkLst>
        </pc:grpChg>
        <pc:grpChg chg="add">
          <ac:chgData name="John Deardurff" userId="a22eae058e899168" providerId="LiveId" clId="{7D464C91-7939-4DA2-A82F-F0B6AC8C407F}" dt="2024-04-19T11:04:32.288" v="203" actId="164"/>
          <ac:grpSpMkLst>
            <pc:docMk/>
            <pc:sldMk cId="3430650572" sldId="2145705865"/>
            <ac:grpSpMk id="8" creationId="{A3106368-40E6-B461-0686-92FA62605075}"/>
          </ac:grpSpMkLst>
        </pc:grpChg>
        <pc:grpChg chg="add del mod topLvl">
          <ac:chgData name="John Deardurff" userId="a22eae058e899168" providerId="LiveId" clId="{7D464C91-7939-4DA2-A82F-F0B6AC8C407F}" dt="2024-04-19T11:04:28.927" v="202" actId="555"/>
          <ac:grpSpMkLst>
            <pc:docMk/>
            <pc:sldMk cId="3430650572" sldId="2145705865"/>
            <ac:grpSpMk id="15" creationId="{D7B675BD-6144-3A48-A1EB-AC5090B8CA8E}"/>
          </ac:grpSpMkLst>
        </pc:grpChg>
        <pc:picChg chg="del mod topLvl">
          <ac:chgData name="John Deardurff" userId="a22eae058e899168" providerId="LiveId" clId="{7D464C91-7939-4DA2-A82F-F0B6AC8C407F}" dt="2024-04-19T11:02:47.854" v="186" actId="478"/>
          <ac:picMkLst>
            <pc:docMk/>
            <pc:sldMk cId="3430650572" sldId="2145705865"/>
            <ac:picMk id="2" creationId="{0B19A98F-23F3-8A02-ED12-3FE5D20B81C5}"/>
          </ac:picMkLst>
        </pc:picChg>
        <pc:picChg chg="mod topLvl">
          <ac:chgData name="John Deardurff" userId="a22eae058e899168" providerId="LiveId" clId="{7D464C91-7939-4DA2-A82F-F0B6AC8C407F}" dt="2024-04-19T11:04:28.927" v="202" actId="555"/>
          <ac:picMkLst>
            <pc:docMk/>
            <pc:sldMk cId="3430650572" sldId="2145705865"/>
            <ac:picMk id="4" creationId="{7711D228-9F12-6B68-C591-BC532E84407D}"/>
          </ac:picMkLst>
        </pc:picChg>
        <pc:picChg chg="mod topLvl">
          <ac:chgData name="John Deardurff" userId="a22eae058e899168" providerId="LiveId" clId="{7D464C91-7939-4DA2-A82F-F0B6AC8C407F}" dt="2024-04-19T11:04:28.927" v="202" actId="555"/>
          <ac:picMkLst>
            <pc:docMk/>
            <pc:sldMk cId="3430650572" sldId="2145705865"/>
            <ac:picMk id="5" creationId="{BC96BD1A-466A-9860-CF2C-52954AA32BAD}"/>
          </ac:picMkLst>
        </pc:picChg>
        <pc:picChg chg="add mod">
          <ac:chgData name="John Deardurff" userId="a22eae058e899168" providerId="LiveId" clId="{7D464C91-7939-4DA2-A82F-F0B6AC8C407F}" dt="2024-04-19T11:04:28.927" v="202" actId="555"/>
          <ac:picMkLst>
            <pc:docMk/>
            <pc:sldMk cId="3430650572" sldId="2145705865"/>
            <ac:picMk id="6" creationId="{BA0BFAC2-277A-8273-E4AB-801CDD3CC88E}"/>
          </ac:picMkLst>
        </pc:picChg>
        <pc:picChg chg="mod topLvl">
          <ac:chgData name="John Deardurff" userId="a22eae058e899168" providerId="LiveId" clId="{7D464C91-7939-4DA2-A82F-F0B6AC8C407F}" dt="2024-04-19T11:04:28.927" v="202" actId="555"/>
          <ac:picMkLst>
            <pc:docMk/>
            <pc:sldMk cId="3430650572" sldId="2145705865"/>
            <ac:picMk id="13" creationId="{C1008DB4-E576-5520-3018-6270A80326C1}"/>
          </ac:picMkLst>
        </pc:picChg>
        <pc:picChg chg="add del mod topLvl">
          <ac:chgData name="John Deardurff" userId="a22eae058e899168" providerId="LiveId" clId="{7D464C91-7939-4DA2-A82F-F0B6AC8C407F}" dt="2024-04-19T11:04:28.927" v="202" actId="555"/>
          <ac:picMkLst>
            <pc:docMk/>
            <pc:sldMk cId="3430650572" sldId="2145705865"/>
            <ac:picMk id="16" creationId="{CFE9E2FB-A7CC-FEB2-493D-D9599A45E18D}"/>
          </ac:picMkLst>
        </pc:picChg>
        <pc:picChg chg="mod topLvl">
          <ac:chgData name="John Deardurff" userId="a22eae058e899168" providerId="LiveId" clId="{7D464C91-7939-4DA2-A82F-F0B6AC8C407F}" dt="2024-04-19T11:04:28.927" v="202" actId="555"/>
          <ac:picMkLst>
            <pc:docMk/>
            <pc:sldMk cId="3430650572" sldId="2145705865"/>
            <ac:picMk id="17" creationId="{950E339C-EF90-F273-D2C0-F2526F8E7B82}"/>
          </ac:picMkLst>
        </pc:picChg>
        <pc:picChg chg="mod topLvl">
          <ac:chgData name="John Deardurff" userId="a22eae058e899168" providerId="LiveId" clId="{7D464C91-7939-4DA2-A82F-F0B6AC8C407F}" dt="2024-04-19T11:04:28.927" v="202" actId="555"/>
          <ac:picMkLst>
            <pc:docMk/>
            <pc:sldMk cId="3430650572" sldId="2145705865"/>
            <ac:picMk id="1026" creationId="{6EC1ED86-6E3B-112F-1B5F-9B8B10E32F66}"/>
          </ac:picMkLst>
        </pc:picChg>
      </pc:sldChg>
      <pc:sldMasterChg chg="del delSldLayout">
        <pc:chgData name="John Deardurff" userId="a22eae058e899168" providerId="LiveId" clId="{7D464C91-7939-4DA2-A82F-F0B6AC8C407F}" dt="2024-04-19T10:58:46.737" v="172" actId="47"/>
        <pc:sldMasterMkLst>
          <pc:docMk/>
          <pc:sldMasterMk cId="796066740" sldId="2147484014"/>
        </pc:sldMasterMkLst>
        <pc:sldLayoutChg chg="del">
          <pc:chgData name="John Deardurff" userId="a22eae058e899168" providerId="LiveId" clId="{7D464C91-7939-4DA2-A82F-F0B6AC8C407F}" dt="2024-04-19T10:58:46.737" v="172" actId="47"/>
          <pc:sldLayoutMkLst>
            <pc:docMk/>
            <pc:sldMasterMk cId="796066740" sldId="2147484014"/>
            <pc:sldLayoutMk cId="928412375" sldId="2147484015"/>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606855451" sldId="2147484016"/>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878393813" sldId="2147484017"/>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145404286" sldId="2147484018"/>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016038204" sldId="2147484019"/>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475847931" sldId="2147484020"/>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21013522" sldId="2147484021"/>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11718414" sldId="2147484022"/>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098712415" sldId="2147484023"/>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083214786" sldId="2147484024"/>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599144548" sldId="2147484025"/>
          </pc:sldLayoutMkLst>
        </pc:sldLayoutChg>
      </pc:sldMasterChg>
    </pc:docChg>
  </pc:docChgLst>
  <pc:docChgLst>
    <pc:chgData name="John Deardurff" userId="1176b27f-6749-4904-a052-7c732238bc52" providerId="ADAL" clId="{ACD0B236-5B55-4CA7-A112-AEFF9BA1B612}"/>
    <pc:docChg chg="undo redo custSel addSld delSld modSld sldOrd">
      <pc:chgData name="John Deardurff" userId="1176b27f-6749-4904-a052-7c732238bc52" providerId="ADAL" clId="{ACD0B236-5B55-4CA7-A112-AEFF9BA1B612}" dt="2024-04-20T12:24:50.729" v="418" actId="20577"/>
      <pc:docMkLst>
        <pc:docMk/>
      </pc:docMkLst>
      <pc:sldChg chg="modSp del mod">
        <pc:chgData name="John Deardurff" userId="1176b27f-6749-4904-a052-7c732238bc52" providerId="ADAL" clId="{ACD0B236-5B55-4CA7-A112-AEFF9BA1B612}" dt="2024-04-20T10:28:16.490" v="362" actId="47"/>
        <pc:sldMkLst>
          <pc:docMk/>
          <pc:sldMk cId="2768309331" sldId="257"/>
        </pc:sldMkLst>
        <pc:spChg chg="mod">
          <ac:chgData name="John Deardurff" userId="1176b27f-6749-4904-a052-7c732238bc52" providerId="ADAL" clId="{ACD0B236-5B55-4CA7-A112-AEFF9BA1B612}" dt="2024-04-19T20:56:35.915" v="13" actId="1076"/>
          <ac:spMkLst>
            <pc:docMk/>
            <pc:sldMk cId="2768309331" sldId="257"/>
            <ac:spMk id="6" creationId="{4B20852E-9E57-66C5-C88B-6B6D14B02752}"/>
          </ac:spMkLst>
        </pc:spChg>
      </pc:sldChg>
      <pc:sldChg chg="del">
        <pc:chgData name="John Deardurff" userId="1176b27f-6749-4904-a052-7c732238bc52" providerId="ADAL" clId="{ACD0B236-5B55-4CA7-A112-AEFF9BA1B612}" dt="2024-04-19T21:04:57.466" v="68" actId="47"/>
        <pc:sldMkLst>
          <pc:docMk/>
          <pc:sldMk cId="95240736" sldId="481"/>
        </pc:sldMkLst>
      </pc:sldChg>
      <pc:sldChg chg="del ord">
        <pc:chgData name="John Deardurff" userId="1176b27f-6749-4904-a052-7c732238bc52" providerId="ADAL" clId="{ACD0B236-5B55-4CA7-A112-AEFF9BA1B612}" dt="2024-04-19T21:16:34.229" v="119" actId="47"/>
        <pc:sldMkLst>
          <pc:docMk/>
          <pc:sldMk cId="2918065920" sldId="596"/>
        </pc:sldMkLst>
      </pc:sldChg>
      <pc:sldChg chg="modSp mod">
        <pc:chgData name="John Deardurff" userId="1176b27f-6749-4904-a052-7c732238bc52" providerId="ADAL" clId="{ACD0B236-5B55-4CA7-A112-AEFF9BA1B612}" dt="2024-04-20T12:24:50.729" v="418" actId="20577"/>
        <pc:sldMkLst>
          <pc:docMk/>
          <pc:sldMk cId="542595443" sldId="604"/>
        </pc:sldMkLst>
        <pc:spChg chg="mod">
          <ac:chgData name="John Deardurff" userId="1176b27f-6749-4904-a052-7c732238bc52" providerId="ADAL" clId="{ACD0B236-5B55-4CA7-A112-AEFF9BA1B612}" dt="2024-04-20T10:29:36.103" v="371" actId="108"/>
          <ac:spMkLst>
            <pc:docMk/>
            <pc:sldMk cId="542595443" sldId="604"/>
            <ac:spMk id="6" creationId="{67EA4E03-4FFD-4170-A431-6404A9119734}"/>
          </ac:spMkLst>
        </pc:spChg>
        <pc:graphicFrameChg chg="mod">
          <ac:chgData name="John Deardurff" userId="1176b27f-6749-4904-a052-7c732238bc52" providerId="ADAL" clId="{ACD0B236-5B55-4CA7-A112-AEFF9BA1B612}" dt="2024-04-20T12:24:50.729" v="418" actId="20577"/>
          <ac:graphicFrameMkLst>
            <pc:docMk/>
            <pc:sldMk cId="542595443" sldId="604"/>
            <ac:graphicFrameMk id="5" creationId="{2829D1EC-E3E0-4457-9E80-A49963D51023}"/>
          </ac:graphicFrameMkLst>
        </pc:graphicFrameChg>
      </pc:sldChg>
      <pc:sldChg chg="addSp delSp modSp del mod">
        <pc:chgData name="John Deardurff" userId="1176b27f-6749-4904-a052-7c732238bc52" providerId="ADAL" clId="{ACD0B236-5B55-4CA7-A112-AEFF9BA1B612}" dt="2024-04-19T21:13:39.812" v="89" actId="47"/>
        <pc:sldMkLst>
          <pc:docMk/>
          <pc:sldMk cId="4047403370" sldId="607"/>
        </pc:sldMkLst>
        <pc:spChg chg="mod">
          <ac:chgData name="John Deardurff" userId="1176b27f-6749-4904-a052-7c732238bc52" providerId="ADAL" clId="{ACD0B236-5B55-4CA7-A112-AEFF9BA1B612}" dt="2024-04-19T21:01:11.308" v="55" actId="207"/>
          <ac:spMkLst>
            <pc:docMk/>
            <pc:sldMk cId="4047403370" sldId="607"/>
            <ac:spMk id="5" creationId="{00000000-0000-0000-0000-000000000000}"/>
          </ac:spMkLst>
        </pc:spChg>
        <pc:spChg chg="mod">
          <ac:chgData name="John Deardurff" userId="1176b27f-6749-4904-a052-7c732238bc52" providerId="ADAL" clId="{ACD0B236-5B55-4CA7-A112-AEFF9BA1B612}" dt="2024-04-19T21:01:11.876" v="56" actId="207"/>
          <ac:spMkLst>
            <pc:docMk/>
            <pc:sldMk cId="4047403370" sldId="607"/>
            <ac:spMk id="8" creationId="{00000000-0000-0000-0000-000000000000}"/>
          </ac:spMkLst>
        </pc:spChg>
        <pc:spChg chg="mod">
          <ac:chgData name="John Deardurff" userId="1176b27f-6749-4904-a052-7c732238bc52" providerId="ADAL" clId="{ACD0B236-5B55-4CA7-A112-AEFF9BA1B612}" dt="2024-04-19T21:01:12.124" v="57" actId="207"/>
          <ac:spMkLst>
            <pc:docMk/>
            <pc:sldMk cId="4047403370" sldId="607"/>
            <ac:spMk id="9"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11"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12"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13"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2"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3"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4"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5" creationId="{00000000-0000-0000-0000-000000000000}"/>
          </ac:spMkLst>
        </pc:spChg>
        <pc:picChg chg="add mod">
          <ac:chgData name="John Deardurff" userId="1176b27f-6749-4904-a052-7c732238bc52" providerId="ADAL" clId="{ACD0B236-5B55-4CA7-A112-AEFF9BA1B612}" dt="2024-04-19T21:04:41.130" v="65" actId="1076"/>
          <ac:picMkLst>
            <pc:docMk/>
            <pc:sldMk cId="4047403370" sldId="607"/>
            <ac:picMk id="4" creationId="{4B123AC2-1543-9F06-6542-720DE7EB54FE}"/>
          </ac:picMkLst>
        </pc:picChg>
        <pc:picChg chg="del">
          <ac:chgData name="John Deardurff" userId="1176b27f-6749-4904-a052-7c732238bc52" providerId="ADAL" clId="{ACD0B236-5B55-4CA7-A112-AEFF9BA1B612}" dt="2024-04-19T21:04:12.181" v="59" actId="478"/>
          <ac:picMkLst>
            <pc:docMk/>
            <pc:sldMk cId="4047403370" sldId="607"/>
            <ac:picMk id="30" creationId="{00000000-0000-0000-0000-000000000000}"/>
          </ac:picMkLst>
        </pc:picChg>
      </pc:sldChg>
      <pc:sldChg chg="addSp delSp modSp del mod">
        <pc:chgData name="John Deardurff" userId="1176b27f-6749-4904-a052-7c732238bc52" providerId="ADAL" clId="{ACD0B236-5B55-4CA7-A112-AEFF9BA1B612}" dt="2024-04-20T10:29:48.986" v="372" actId="47"/>
        <pc:sldMkLst>
          <pc:docMk/>
          <pc:sldMk cId="2266201479" sldId="622"/>
        </pc:sldMkLst>
        <pc:spChg chg="mod">
          <ac:chgData name="John Deardurff" userId="1176b27f-6749-4904-a052-7c732238bc52" providerId="ADAL" clId="{ACD0B236-5B55-4CA7-A112-AEFF9BA1B612}" dt="2024-04-19T21:20:41.719" v="216" actId="1076"/>
          <ac:spMkLst>
            <pc:docMk/>
            <pc:sldMk cId="2266201479" sldId="622"/>
            <ac:spMk id="2" creationId="{EB67312A-9819-43C6-8D84-D9136E6CFFCC}"/>
          </ac:spMkLst>
        </pc:spChg>
        <pc:spChg chg="del">
          <ac:chgData name="John Deardurff" userId="1176b27f-6749-4904-a052-7c732238bc52" providerId="ADAL" clId="{ACD0B236-5B55-4CA7-A112-AEFF9BA1B612}" dt="2024-04-19T21:14:04.149" v="93" actId="478"/>
          <ac:spMkLst>
            <pc:docMk/>
            <pc:sldMk cId="2266201479" sldId="622"/>
            <ac:spMk id="3" creationId="{F35E8CBB-5A7D-4DEF-BAF7-8DD5D042F9E0}"/>
          </ac:spMkLst>
        </pc:spChg>
        <pc:spChg chg="add del mod">
          <ac:chgData name="John Deardurff" userId="1176b27f-6749-4904-a052-7c732238bc52" providerId="ADAL" clId="{ACD0B236-5B55-4CA7-A112-AEFF9BA1B612}" dt="2024-04-19T21:14:26.064" v="94" actId="478"/>
          <ac:spMkLst>
            <pc:docMk/>
            <pc:sldMk cId="2266201479" sldId="622"/>
            <ac:spMk id="10" creationId="{9BD179DE-C5C7-9BE6-CDC6-9C5412F5FA6C}"/>
          </ac:spMkLst>
        </pc:spChg>
        <pc:spChg chg="add del mod">
          <ac:chgData name="John Deardurff" userId="1176b27f-6749-4904-a052-7c732238bc52" providerId="ADAL" clId="{ACD0B236-5B55-4CA7-A112-AEFF9BA1B612}" dt="2024-04-19T21:21:37.573" v="226" actId="20577"/>
          <ac:spMkLst>
            <pc:docMk/>
            <pc:sldMk cId="2266201479" sldId="622"/>
            <ac:spMk id="12" creationId="{EB0D7ADE-EA66-4D67-AB24-86EB688BD1AE}"/>
          </ac:spMkLst>
        </pc:spChg>
        <pc:grpChg chg="mod">
          <ac:chgData name="John Deardurff" userId="1176b27f-6749-4904-a052-7c732238bc52" providerId="ADAL" clId="{ACD0B236-5B55-4CA7-A112-AEFF9BA1B612}" dt="2024-04-19T21:20:48.190" v="217" actId="1076"/>
          <ac:grpSpMkLst>
            <pc:docMk/>
            <pc:sldMk cId="2266201479" sldId="622"/>
            <ac:grpSpMk id="11" creationId="{D37515E2-2A06-4908-A887-DF1D171EEAD6}"/>
          </ac:grpSpMkLst>
        </pc:grpChg>
        <pc:graphicFrameChg chg="add mod">
          <ac:chgData name="John Deardurff" userId="1176b27f-6749-4904-a052-7c732238bc52" providerId="ADAL" clId="{ACD0B236-5B55-4CA7-A112-AEFF9BA1B612}" dt="2024-04-19T21:17:38.871" v="149" actId="12084"/>
          <ac:graphicFrameMkLst>
            <pc:docMk/>
            <pc:sldMk cId="2266201479" sldId="622"/>
            <ac:graphicFrameMk id="13" creationId="{A5826F5F-5159-F7EB-224B-A0E03DA20404}"/>
          </ac:graphicFrameMkLst>
        </pc:graphicFrameChg>
      </pc:sldChg>
      <pc:sldChg chg="addSp delSp modSp mod">
        <pc:chgData name="John Deardurff" userId="1176b27f-6749-4904-a052-7c732238bc52" providerId="ADAL" clId="{ACD0B236-5B55-4CA7-A112-AEFF9BA1B612}" dt="2024-04-19T21:01:12.541" v="58" actId="1076"/>
        <pc:sldMkLst>
          <pc:docMk/>
          <pc:sldMk cId="2479433347" sldId="4241"/>
        </pc:sldMkLst>
        <pc:spChg chg="mod">
          <ac:chgData name="John Deardurff" userId="1176b27f-6749-4904-a052-7c732238bc52" providerId="ADAL" clId="{ACD0B236-5B55-4CA7-A112-AEFF9BA1B612}" dt="2024-04-19T21:01:12.541" v="58" actId="1076"/>
          <ac:spMkLst>
            <pc:docMk/>
            <pc:sldMk cId="2479433347" sldId="4241"/>
            <ac:spMk id="53" creationId="{65AD5F42-D287-F243-A35B-06CFE2BFA1B9}"/>
          </ac:spMkLst>
        </pc:spChg>
        <pc:picChg chg="add mod">
          <ac:chgData name="John Deardurff" userId="1176b27f-6749-4904-a052-7c732238bc52" providerId="ADAL" clId="{ACD0B236-5B55-4CA7-A112-AEFF9BA1B612}" dt="2024-04-19T20:58:48.022" v="34" actId="14100"/>
          <ac:picMkLst>
            <pc:docMk/>
            <pc:sldMk cId="2479433347" sldId="4241"/>
            <ac:picMk id="3" creationId="{6C5A0D02-1ABB-1769-9CBA-E7DF11C6BA9D}"/>
          </ac:picMkLst>
        </pc:picChg>
        <pc:picChg chg="del">
          <ac:chgData name="John Deardurff" userId="1176b27f-6749-4904-a052-7c732238bc52" providerId="ADAL" clId="{ACD0B236-5B55-4CA7-A112-AEFF9BA1B612}" dt="2024-04-19T20:58:15.328" v="29" actId="478"/>
          <ac:picMkLst>
            <pc:docMk/>
            <pc:sldMk cId="2479433347" sldId="4241"/>
            <ac:picMk id="42" creationId="{81B4ED79-3CB5-B141-95B9-A2F4A69666B5}"/>
          </ac:picMkLst>
        </pc:picChg>
      </pc:sldChg>
      <pc:sldChg chg="del">
        <pc:chgData name="John Deardurff" userId="1176b27f-6749-4904-a052-7c732238bc52" providerId="ADAL" clId="{ACD0B236-5B55-4CA7-A112-AEFF9BA1B612}" dt="2024-04-20T10:28:17.089" v="363" actId="47"/>
        <pc:sldMkLst>
          <pc:docMk/>
          <pc:sldMk cId="3430650572" sldId="2145705865"/>
        </pc:sldMkLst>
      </pc:sldChg>
      <pc:sldChg chg="addSp delSp modSp add del mod">
        <pc:chgData name="John Deardurff" userId="1176b27f-6749-4904-a052-7c732238bc52" providerId="ADAL" clId="{ACD0B236-5B55-4CA7-A112-AEFF9BA1B612}" dt="2024-04-19T20:58:10.249" v="28" actId="47"/>
        <pc:sldMkLst>
          <pc:docMk/>
          <pc:sldMk cId="522242174" sldId="2145705866"/>
        </pc:sldMkLst>
        <pc:spChg chg="add del mod">
          <ac:chgData name="John Deardurff" userId="1176b27f-6749-4904-a052-7c732238bc52" providerId="ADAL" clId="{ACD0B236-5B55-4CA7-A112-AEFF9BA1B612}" dt="2024-04-19T20:58:08.001" v="26" actId="478"/>
          <ac:spMkLst>
            <pc:docMk/>
            <pc:sldMk cId="522242174" sldId="2145705866"/>
            <ac:spMk id="7" creationId="{7A1B7876-2DE6-96A3-D470-893A41DC0329}"/>
          </ac:spMkLst>
        </pc:spChg>
        <pc:picChg chg="add del mod">
          <ac:chgData name="John Deardurff" userId="1176b27f-6749-4904-a052-7c732238bc52" providerId="ADAL" clId="{ACD0B236-5B55-4CA7-A112-AEFF9BA1B612}" dt="2024-04-19T20:58:08.624" v="27" actId="22"/>
          <ac:picMkLst>
            <pc:docMk/>
            <pc:sldMk cId="522242174" sldId="2145705866"/>
            <ac:picMk id="3" creationId="{B658DDCD-EFDA-B1E2-4AC3-221DD3A5591F}"/>
          </ac:picMkLst>
        </pc:picChg>
      </pc:sldChg>
      <pc:sldChg chg="add del">
        <pc:chgData name="John Deardurff" userId="1176b27f-6749-4904-a052-7c732238bc52" providerId="ADAL" clId="{ACD0B236-5B55-4CA7-A112-AEFF9BA1B612}" dt="2024-04-19T21:05:03.891" v="71" actId="47"/>
        <pc:sldMkLst>
          <pc:docMk/>
          <pc:sldMk cId="2310661475" sldId="2145705866"/>
        </pc:sldMkLst>
      </pc:sldChg>
      <pc:sldChg chg="addSp delSp modSp add mod ord">
        <pc:chgData name="John Deardurff" userId="1176b27f-6749-4904-a052-7c732238bc52" providerId="ADAL" clId="{ACD0B236-5B55-4CA7-A112-AEFF9BA1B612}" dt="2024-04-19T21:27:53.803" v="357" actId="207"/>
        <pc:sldMkLst>
          <pc:docMk/>
          <pc:sldMk cId="3315495343" sldId="2145705867"/>
        </pc:sldMkLst>
        <pc:spChg chg="del">
          <ac:chgData name="John Deardurff" userId="1176b27f-6749-4904-a052-7c732238bc52" providerId="ADAL" clId="{ACD0B236-5B55-4CA7-A112-AEFF9BA1B612}" dt="2024-04-19T21:22:50.306" v="238" actId="478"/>
          <ac:spMkLst>
            <pc:docMk/>
            <pc:sldMk cId="3315495343" sldId="2145705867"/>
            <ac:spMk id="5" creationId="{00000000-0000-0000-0000-000000000000}"/>
          </ac:spMkLst>
        </pc:spChg>
        <pc:spChg chg="del">
          <ac:chgData name="John Deardurff" userId="1176b27f-6749-4904-a052-7c732238bc52" providerId="ADAL" clId="{ACD0B236-5B55-4CA7-A112-AEFF9BA1B612}" dt="2024-04-19T21:22:49.064" v="237" actId="478"/>
          <ac:spMkLst>
            <pc:docMk/>
            <pc:sldMk cId="3315495343" sldId="2145705867"/>
            <ac:spMk id="8" creationId="{00000000-0000-0000-0000-000000000000}"/>
          </ac:spMkLst>
        </pc:spChg>
        <pc:spChg chg="del">
          <ac:chgData name="John Deardurff" userId="1176b27f-6749-4904-a052-7c732238bc52" providerId="ADAL" clId="{ACD0B236-5B55-4CA7-A112-AEFF9BA1B612}" dt="2024-04-19T21:22:21.377" v="232" actId="478"/>
          <ac:spMkLst>
            <pc:docMk/>
            <pc:sldMk cId="3315495343" sldId="2145705867"/>
            <ac:spMk id="9" creationId="{00000000-0000-0000-0000-000000000000}"/>
          </ac:spMkLst>
        </pc:spChg>
        <pc:spChg chg="mod">
          <ac:chgData name="John Deardurff" userId="1176b27f-6749-4904-a052-7c732238bc52" providerId="ADAL" clId="{ACD0B236-5B55-4CA7-A112-AEFF9BA1B612}" dt="2024-04-19T21:25:34.015" v="334" actId="207"/>
          <ac:spMkLst>
            <pc:docMk/>
            <pc:sldMk cId="3315495343" sldId="2145705867"/>
            <ac:spMk id="10"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13"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14" creationId="{00000000-0000-0000-0000-000000000000}"/>
          </ac:spMkLst>
        </pc:spChg>
        <pc:spChg chg="mod">
          <ac:chgData name="John Deardurff" userId="1176b27f-6749-4904-a052-7c732238bc52" providerId="ADAL" clId="{ACD0B236-5B55-4CA7-A112-AEFF9BA1B612}" dt="2024-04-19T21:24:29.746" v="316" actId="1035"/>
          <ac:spMkLst>
            <pc:docMk/>
            <pc:sldMk cId="3315495343" sldId="2145705867"/>
            <ac:spMk id="15" creationId="{00000000-0000-0000-0000-000000000000}"/>
          </ac:spMkLst>
        </pc:spChg>
        <pc:spChg chg="mod">
          <ac:chgData name="John Deardurff" userId="1176b27f-6749-4904-a052-7c732238bc52" providerId="ADAL" clId="{ACD0B236-5B55-4CA7-A112-AEFF9BA1B612}" dt="2024-04-19T21:25:06.769" v="321" actId="1076"/>
          <ac:spMkLst>
            <pc:docMk/>
            <pc:sldMk cId="3315495343" sldId="2145705867"/>
            <ac:spMk id="18" creationId="{00000000-0000-0000-0000-000000000000}"/>
          </ac:spMkLst>
        </pc:spChg>
        <pc:spChg chg="mod">
          <ac:chgData name="John Deardurff" userId="1176b27f-6749-4904-a052-7c732238bc52" providerId="ADAL" clId="{ACD0B236-5B55-4CA7-A112-AEFF9BA1B612}" dt="2024-04-19T21:25:34.015" v="334" actId="207"/>
          <ac:spMkLst>
            <pc:docMk/>
            <pc:sldMk cId="3315495343" sldId="2145705867"/>
            <ac:spMk id="24" creationId="{00000000-0000-0000-0000-000000000000}"/>
          </ac:spMkLst>
        </pc:spChg>
        <pc:spChg chg="mod">
          <ac:chgData name="John Deardurff" userId="1176b27f-6749-4904-a052-7c732238bc52" providerId="ADAL" clId="{ACD0B236-5B55-4CA7-A112-AEFF9BA1B612}" dt="2024-04-19T21:25:34.015" v="334" actId="207"/>
          <ac:spMkLst>
            <pc:docMk/>
            <pc:sldMk cId="3315495343" sldId="2145705867"/>
            <ac:spMk id="25" creationId="{00000000-0000-0000-0000-000000000000}"/>
          </ac:spMkLst>
        </pc:spChg>
        <pc:spChg chg="mod">
          <ac:chgData name="John Deardurff" userId="1176b27f-6749-4904-a052-7c732238bc52" providerId="ADAL" clId="{ACD0B236-5B55-4CA7-A112-AEFF9BA1B612}" dt="2024-04-19T21:27:53.803" v="357" actId="207"/>
          <ac:spMkLst>
            <pc:docMk/>
            <pc:sldMk cId="3315495343" sldId="2145705867"/>
            <ac:spMk id="26"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27" creationId="{00000000-0000-0000-0000-000000000000}"/>
          </ac:spMkLst>
        </pc:spChg>
        <pc:spChg chg="mod">
          <ac:chgData name="John Deardurff" userId="1176b27f-6749-4904-a052-7c732238bc52" providerId="ADAL" clId="{ACD0B236-5B55-4CA7-A112-AEFF9BA1B612}" dt="2024-04-19T21:24:29.746" v="316" actId="1035"/>
          <ac:spMkLst>
            <pc:docMk/>
            <pc:sldMk cId="3315495343" sldId="2145705867"/>
            <ac:spMk id="28"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32" creationId="{00000000-0000-0000-0000-000000000000}"/>
          </ac:spMkLst>
        </pc:spChg>
        <pc:spChg chg="mod">
          <ac:chgData name="John Deardurff" userId="1176b27f-6749-4904-a052-7c732238bc52" providerId="ADAL" clId="{ACD0B236-5B55-4CA7-A112-AEFF9BA1B612}" dt="2024-04-19T21:24:29.746" v="316" actId="1035"/>
          <ac:spMkLst>
            <pc:docMk/>
            <pc:sldMk cId="3315495343" sldId="2145705867"/>
            <ac:spMk id="33" creationId="{00000000-0000-0000-0000-000000000000}"/>
          </ac:spMkLst>
        </pc:spChg>
        <pc:spChg chg="mod">
          <ac:chgData name="John Deardurff" userId="1176b27f-6749-4904-a052-7c732238bc52" providerId="ADAL" clId="{ACD0B236-5B55-4CA7-A112-AEFF9BA1B612}" dt="2024-04-19T21:25:21.440" v="333" actId="1035"/>
          <ac:spMkLst>
            <pc:docMk/>
            <pc:sldMk cId="3315495343" sldId="2145705867"/>
            <ac:spMk id="36" creationId="{00000000-0000-0000-0000-000000000000}"/>
          </ac:spMkLst>
        </pc:spChg>
        <pc:spChg chg="add mod ord">
          <ac:chgData name="John Deardurff" userId="1176b27f-6749-4904-a052-7c732238bc52" providerId="ADAL" clId="{ACD0B236-5B55-4CA7-A112-AEFF9BA1B612}" dt="2024-04-19T21:23:59.810" v="284" actId="14100"/>
          <ac:spMkLst>
            <pc:docMk/>
            <pc:sldMk cId="3315495343" sldId="2145705867"/>
            <ac:spMk id="37" creationId="{0A51EBE6-422E-7FB5-C38F-0D8190FB3AD4}"/>
          </ac:spMkLst>
        </pc:spChg>
        <pc:spChg chg="add mod ord">
          <ac:chgData name="John Deardurff" userId="1176b27f-6749-4904-a052-7c732238bc52" providerId="ADAL" clId="{ACD0B236-5B55-4CA7-A112-AEFF9BA1B612}" dt="2024-04-19T21:23:42.118" v="260" actId="1035"/>
          <ac:spMkLst>
            <pc:docMk/>
            <pc:sldMk cId="3315495343" sldId="2145705867"/>
            <ac:spMk id="38" creationId="{41500892-DFD7-08A8-711E-6C49E81D841F}"/>
          </ac:spMkLst>
        </pc:spChg>
        <pc:spChg chg="mod topLvl">
          <ac:chgData name="John Deardurff" userId="1176b27f-6749-4904-a052-7c732238bc52" providerId="ADAL" clId="{ACD0B236-5B55-4CA7-A112-AEFF9BA1B612}" dt="2024-04-19T21:26:41.339" v="344" actId="165"/>
          <ac:spMkLst>
            <pc:docMk/>
            <pc:sldMk cId="3315495343" sldId="2145705867"/>
            <ac:spMk id="41" creationId="{AC73A879-006B-4528-B15C-5410C1F87DE9}"/>
          </ac:spMkLst>
        </pc:spChg>
        <pc:spChg chg="add mod ord">
          <ac:chgData name="John Deardurff" userId="1176b27f-6749-4904-a052-7c732238bc52" providerId="ADAL" clId="{ACD0B236-5B55-4CA7-A112-AEFF9BA1B612}" dt="2024-04-19T21:24:05.685" v="296" actId="1036"/>
          <ac:spMkLst>
            <pc:docMk/>
            <pc:sldMk cId="3315495343" sldId="2145705867"/>
            <ac:spMk id="42" creationId="{B8F12DB6-51D2-E647-4CC1-EB0AB30C1669}"/>
          </ac:spMkLst>
        </pc:spChg>
        <pc:grpChg chg="del mod">
          <ac:chgData name="John Deardurff" userId="1176b27f-6749-4904-a052-7c732238bc52" providerId="ADAL" clId="{ACD0B236-5B55-4CA7-A112-AEFF9BA1B612}" dt="2024-04-19T21:26:41.339" v="344" actId="165"/>
          <ac:grpSpMkLst>
            <pc:docMk/>
            <pc:sldMk cId="3315495343" sldId="2145705867"/>
            <ac:grpSpMk id="39" creationId="{A18F47DB-5EF7-4266-BC44-495FFA49056C}"/>
          </ac:grpSpMkLst>
        </pc:grpChg>
        <pc:grpChg chg="add">
          <ac:chgData name="John Deardurff" userId="1176b27f-6749-4904-a052-7c732238bc52" providerId="ADAL" clId="{ACD0B236-5B55-4CA7-A112-AEFF9BA1B612}" dt="2024-04-19T21:24:40.215" v="317" actId="164"/>
          <ac:grpSpMkLst>
            <pc:docMk/>
            <pc:sldMk cId="3315495343" sldId="2145705867"/>
            <ac:grpSpMk id="43" creationId="{273F9E86-4DCA-05AA-BB59-43BE88B29934}"/>
          </ac:grpSpMkLst>
        </pc:grpChg>
        <pc:grpChg chg="add mod">
          <ac:chgData name="John Deardurff" userId="1176b27f-6749-4904-a052-7c732238bc52" providerId="ADAL" clId="{ACD0B236-5B55-4CA7-A112-AEFF9BA1B612}" dt="2024-04-19T21:24:59.003" v="320" actId="465"/>
          <ac:grpSpMkLst>
            <pc:docMk/>
            <pc:sldMk cId="3315495343" sldId="2145705867"/>
            <ac:grpSpMk id="44" creationId="{6DD40442-BB71-27EB-CBCE-88E4A5617D81}"/>
          </ac:grpSpMkLst>
        </pc:grpChg>
        <pc:grpChg chg="add">
          <ac:chgData name="John Deardurff" userId="1176b27f-6749-4904-a052-7c732238bc52" providerId="ADAL" clId="{ACD0B236-5B55-4CA7-A112-AEFF9BA1B612}" dt="2024-04-19T21:24:49.749" v="319" actId="164"/>
          <ac:grpSpMkLst>
            <pc:docMk/>
            <pc:sldMk cId="3315495343" sldId="2145705867"/>
            <ac:grpSpMk id="45" creationId="{0466108F-CE1D-3A7F-C046-5FEBFD684740}"/>
          </ac:grpSpMkLst>
        </pc:grpChg>
        <pc:grpChg chg="add mod">
          <ac:chgData name="John Deardurff" userId="1176b27f-6749-4904-a052-7c732238bc52" providerId="ADAL" clId="{ACD0B236-5B55-4CA7-A112-AEFF9BA1B612}" dt="2024-04-19T21:27:06.519" v="348" actId="1076"/>
          <ac:grpSpMkLst>
            <pc:docMk/>
            <pc:sldMk cId="3315495343" sldId="2145705867"/>
            <ac:grpSpMk id="46" creationId="{3A4DF0B2-8E17-4C38-2D8C-255C4CE2C25A}"/>
          </ac:grpSpMkLst>
        </pc:grpChg>
        <pc:picChg chg="del">
          <ac:chgData name="John Deardurff" userId="1176b27f-6749-4904-a052-7c732238bc52" providerId="ADAL" clId="{ACD0B236-5B55-4CA7-A112-AEFF9BA1B612}" dt="2024-04-19T21:11:53.067" v="72" actId="478"/>
          <ac:picMkLst>
            <pc:docMk/>
            <pc:sldMk cId="3315495343" sldId="2145705867"/>
            <ac:picMk id="4" creationId="{4B123AC2-1543-9F06-6542-720DE7EB54FE}"/>
          </ac:picMkLst>
        </pc:picChg>
        <pc:picChg chg="add del mod">
          <ac:chgData name="John Deardurff" userId="1176b27f-6749-4904-a052-7c732238bc52" providerId="ADAL" clId="{ACD0B236-5B55-4CA7-A112-AEFF9BA1B612}" dt="2024-04-19T21:12:21.279" v="82" actId="478"/>
          <ac:picMkLst>
            <pc:docMk/>
            <pc:sldMk cId="3315495343" sldId="2145705867"/>
            <ac:picMk id="6" creationId="{8F288041-E91D-714A-662D-7D370DD7E08C}"/>
          </ac:picMkLst>
        </pc:picChg>
        <pc:picChg chg="add mod">
          <ac:chgData name="John Deardurff" userId="1176b27f-6749-4904-a052-7c732238bc52" providerId="ADAL" clId="{ACD0B236-5B55-4CA7-A112-AEFF9BA1B612}" dt="2024-04-19T21:25:51.473" v="336" actId="1076"/>
          <ac:picMkLst>
            <pc:docMk/>
            <pc:sldMk cId="3315495343" sldId="2145705867"/>
            <ac:picMk id="30" creationId="{AF9B3780-8214-7298-9874-BED0E895195C}"/>
          </ac:picMkLst>
        </pc:picChg>
        <pc:cxnChg chg="mod">
          <ac:chgData name="John Deardurff" userId="1176b27f-6749-4904-a052-7c732238bc52" providerId="ADAL" clId="{ACD0B236-5B55-4CA7-A112-AEFF9BA1B612}" dt="2024-04-19T21:25:15.363" v="329" actId="1035"/>
          <ac:cxnSpMkLst>
            <pc:docMk/>
            <pc:sldMk cId="3315495343" sldId="2145705867"/>
            <ac:cxnSpMk id="22" creationId="{00000000-0000-0000-0000-000000000000}"/>
          </ac:cxnSpMkLst>
        </pc:cxnChg>
        <pc:cxnChg chg="mod topLvl">
          <ac:chgData name="John Deardurff" userId="1176b27f-6749-4904-a052-7c732238bc52" providerId="ADAL" clId="{ACD0B236-5B55-4CA7-A112-AEFF9BA1B612}" dt="2024-04-19T21:26:47.011" v="346" actId="208"/>
          <ac:cxnSpMkLst>
            <pc:docMk/>
            <pc:sldMk cId="3315495343" sldId="2145705867"/>
            <ac:cxnSpMk id="40" creationId="{513428E4-9638-4E8B-9839-490E087D5F7B}"/>
          </ac:cxnSpMkLst>
        </pc:cxnChg>
      </pc:sldChg>
      <pc:sldChg chg="add del">
        <pc:chgData name="John Deardurff" userId="1176b27f-6749-4904-a052-7c732238bc52" providerId="ADAL" clId="{ACD0B236-5B55-4CA7-A112-AEFF9BA1B612}" dt="2024-04-19T21:28:12.910" v="359" actId="47"/>
        <pc:sldMkLst>
          <pc:docMk/>
          <pc:sldMk cId="2614898419" sldId="2145705868"/>
        </pc:sldMkLst>
      </pc:sldChg>
      <pc:sldChg chg="add ord">
        <pc:chgData name="John Deardurff" userId="1176b27f-6749-4904-a052-7c732238bc52" providerId="ADAL" clId="{ACD0B236-5B55-4CA7-A112-AEFF9BA1B612}" dt="2024-04-19T21:28:15.703" v="361"/>
        <pc:sldMkLst>
          <pc:docMk/>
          <pc:sldMk cId="2550711790" sldId="2145705869"/>
        </pc:sldMkLst>
      </pc:sldChg>
      <pc:sldChg chg="addSp delSp modSp add mod ord">
        <pc:chgData name="John Deardurff" userId="1176b27f-6749-4904-a052-7c732238bc52" providerId="ADAL" clId="{ACD0B236-5B55-4CA7-A112-AEFF9BA1B612}" dt="2024-04-20T10:29:21.317" v="369" actId="108"/>
        <pc:sldMkLst>
          <pc:docMk/>
          <pc:sldMk cId="1750596998" sldId="2145705872"/>
        </pc:sldMkLst>
        <pc:spChg chg="add mod">
          <ac:chgData name="John Deardurff" userId="1176b27f-6749-4904-a052-7c732238bc52" providerId="ADAL" clId="{ACD0B236-5B55-4CA7-A112-AEFF9BA1B612}" dt="2024-04-20T10:29:06.675" v="368"/>
          <ac:spMkLst>
            <pc:docMk/>
            <pc:sldMk cId="1750596998" sldId="2145705872"/>
            <ac:spMk id="2" creationId="{7D7293FF-F9F1-FF59-F498-EC6C990DFDE7}"/>
          </ac:spMkLst>
        </pc:spChg>
        <pc:spChg chg="mod">
          <ac:chgData name="John Deardurff" userId="1176b27f-6749-4904-a052-7c732238bc52" providerId="ADAL" clId="{ACD0B236-5B55-4CA7-A112-AEFF9BA1B612}" dt="2024-04-20T10:29:06.675" v="368"/>
          <ac:spMkLst>
            <pc:docMk/>
            <pc:sldMk cId="1750596998" sldId="2145705872"/>
            <ac:spMk id="5" creationId="{CC9CD388-F8D5-BF5A-5B1F-3B6C689607BB}"/>
          </ac:spMkLst>
        </pc:spChg>
        <pc:spChg chg="mod">
          <ac:chgData name="John Deardurff" userId="1176b27f-6749-4904-a052-7c732238bc52" providerId="ADAL" clId="{ACD0B236-5B55-4CA7-A112-AEFF9BA1B612}" dt="2024-04-20T10:29:21.317" v="369" actId="108"/>
          <ac:spMkLst>
            <pc:docMk/>
            <pc:sldMk cId="1750596998" sldId="2145705872"/>
            <ac:spMk id="7" creationId="{DA279F63-2637-42E4-B26C-29027ABA2302}"/>
          </ac:spMkLst>
        </pc:spChg>
        <pc:spChg chg="mod">
          <ac:chgData name="John Deardurff" userId="1176b27f-6749-4904-a052-7c732238bc52" providerId="ADAL" clId="{ACD0B236-5B55-4CA7-A112-AEFF9BA1B612}" dt="2024-04-20T10:29:06.675" v="368"/>
          <ac:spMkLst>
            <pc:docMk/>
            <pc:sldMk cId="1750596998" sldId="2145705872"/>
            <ac:spMk id="8" creationId="{3DE9DF24-3D07-9366-CA38-1133B92370B0}"/>
          </ac:spMkLst>
        </pc:spChg>
        <pc:spChg chg="mod">
          <ac:chgData name="John Deardurff" userId="1176b27f-6749-4904-a052-7c732238bc52" providerId="ADAL" clId="{ACD0B236-5B55-4CA7-A112-AEFF9BA1B612}" dt="2024-04-20T10:29:06.675" v="368"/>
          <ac:spMkLst>
            <pc:docMk/>
            <pc:sldMk cId="1750596998" sldId="2145705872"/>
            <ac:spMk id="9" creationId="{205016B2-F49E-1EDB-CA17-76D7E6A24290}"/>
          </ac:spMkLst>
        </pc:spChg>
        <pc:spChg chg="mod">
          <ac:chgData name="John Deardurff" userId="1176b27f-6749-4904-a052-7c732238bc52" providerId="ADAL" clId="{ACD0B236-5B55-4CA7-A112-AEFF9BA1B612}" dt="2024-04-20T10:29:06.675" v="368"/>
          <ac:spMkLst>
            <pc:docMk/>
            <pc:sldMk cId="1750596998" sldId="2145705872"/>
            <ac:spMk id="10" creationId="{BDA3D848-A5D7-3FFB-CB86-5BA5166C47F1}"/>
          </ac:spMkLst>
        </pc:spChg>
        <pc:grpChg chg="add mod">
          <ac:chgData name="John Deardurff" userId="1176b27f-6749-4904-a052-7c732238bc52" providerId="ADAL" clId="{ACD0B236-5B55-4CA7-A112-AEFF9BA1B612}" dt="2024-04-20T10:29:06.675" v="368"/>
          <ac:grpSpMkLst>
            <pc:docMk/>
            <pc:sldMk cId="1750596998" sldId="2145705872"/>
            <ac:grpSpMk id="3" creationId="{E2FDF4FE-66A9-D5FE-1599-C26F9641166C}"/>
          </ac:grpSpMkLst>
        </pc:grpChg>
        <pc:graphicFrameChg chg="mod">
          <ac:chgData name="John Deardurff" userId="1176b27f-6749-4904-a052-7c732238bc52" providerId="ADAL" clId="{ACD0B236-5B55-4CA7-A112-AEFF9BA1B612}" dt="2024-04-20T10:29:06.675" v="368"/>
          <ac:graphicFrameMkLst>
            <pc:docMk/>
            <pc:sldMk cId="1750596998" sldId="2145705872"/>
            <ac:graphicFrameMk id="4" creationId="{8EC4BC58-A5CB-00AB-FC5B-3BE8A5786DAE}"/>
          </ac:graphicFrameMkLst>
        </pc:graphicFrameChg>
        <pc:graphicFrameChg chg="del">
          <ac:chgData name="John Deardurff" userId="1176b27f-6749-4904-a052-7c732238bc52" providerId="ADAL" clId="{ACD0B236-5B55-4CA7-A112-AEFF9BA1B612}" dt="2024-04-20T10:28:52.040" v="367" actId="478"/>
          <ac:graphicFrameMkLst>
            <pc:docMk/>
            <pc:sldMk cId="1750596998" sldId="2145705872"/>
            <ac:graphicFrameMk id="6" creationId="{2FC788ED-AD1E-4868-807F-59862E5F7939}"/>
          </ac:graphicFrameMkLst>
        </pc:graphicFrameChg>
      </pc:sldChg>
    </pc:docChg>
  </pc:docChgLst>
  <pc:docChgLst>
    <pc:chgData name="John Deardurff" userId="1176b27f-6749-4904-a052-7c732238bc52" providerId="ADAL" clId="{FAA73145-5ECD-4065-9212-4C2F076478EF}"/>
    <pc:docChg chg="modSld">
      <pc:chgData name="John Deardurff" userId="1176b27f-6749-4904-a052-7c732238bc52" providerId="ADAL" clId="{FAA73145-5ECD-4065-9212-4C2F076478EF}" dt="2024-04-19T20:52:27.364" v="337" actId="20577"/>
      <pc:docMkLst>
        <pc:docMk/>
      </pc:docMkLst>
      <pc:sldChg chg="modSp mod">
        <pc:chgData name="John Deardurff" userId="1176b27f-6749-4904-a052-7c732238bc52" providerId="ADAL" clId="{FAA73145-5ECD-4065-9212-4C2F076478EF}" dt="2024-04-19T20:52:27.364" v="337" actId="20577"/>
        <pc:sldMkLst>
          <pc:docMk/>
          <pc:sldMk cId="2479433347" sldId="4241"/>
        </pc:sldMkLst>
        <pc:spChg chg="mod">
          <ac:chgData name="John Deardurff" userId="1176b27f-6749-4904-a052-7c732238bc52" providerId="ADAL" clId="{FAA73145-5ECD-4065-9212-4C2F076478EF}" dt="2024-04-19T20:52:27.364" v="337" actId="20577"/>
          <ac:spMkLst>
            <pc:docMk/>
            <pc:sldMk cId="2479433347" sldId="4241"/>
            <ac:spMk id="53" creationId="{65AD5F42-D287-F243-A35B-06CFE2BFA1B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9B447D-F1E8-41F3-A54F-4A25D3615A4F}" type="doc">
      <dgm:prSet loTypeId="urn:microsoft.com/office/officeart/2005/8/layout/orgChart1" loCatId="hierarchy" qsTypeId="urn:microsoft.com/office/officeart/2005/8/quickstyle/simple1" qsCatId="simple" csTypeId="urn:microsoft.com/office/officeart/2005/8/colors/colorful4" csCatId="colorful" phldr="1"/>
      <dgm:spPr/>
      <dgm:t>
        <a:bodyPr/>
        <a:lstStyle/>
        <a:p>
          <a:endParaRPr lang="pt-PT"/>
        </a:p>
      </dgm:t>
    </dgm:pt>
    <dgm:pt modelId="{35AEFCA7-E8E3-4361-A5F1-A83FE7922FE1}">
      <dgm:prSet phldrT="[Text]" custT="1"/>
      <dgm:spPr>
        <a:xfrm>
          <a:off x="2875855" y="1038845"/>
          <a:ext cx="2376289" cy="1188144"/>
        </a:xfr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317E66B7-FBB8-42D1-88CB-48F75EB30F30}" type="parTrans" cxnId="{60596682-1BA5-4030-A49B-01AFDA02185C}">
      <dgm:prSet/>
      <dgm:spPr/>
      <dgm:t>
        <a:bodyPr/>
        <a:lstStyle/>
        <a:p>
          <a:endParaRPr lang="pt-PT"/>
        </a:p>
      </dgm:t>
    </dgm:pt>
    <dgm:pt modelId="{D52EF789-2101-44FA-8855-3582CBE1FAF6}" type="sibTrans" cxnId="{60596682-1BA5-4030-A49B-01AFDA02185C}">
      <dgm:prSet/>
      <dgm:spPr/>
      <dgm:t>
        <a:bodyPr/>
        <a:lstStyle/>
        <a:p>
          <a:endParaRPr lang="pt-PT"/>
        </a:p>
      </dgm:t>
    </dgm:pt>
    <dgm:pt modelId="{FD6F40A2-AD4C-4424-86A7-23B3305FBF34}">
      <dgm:prSet phldrT="[Text]" custT="1"/>
      <dgm:spPr>
        <a:xfrm>
          <a:off x="54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2</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xy’</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Jorge</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40994B2B-E312-454C-A7A9-91DB8CD3C737}" type="parTrans" cxnId="{969CF005-3E04-4789-BCEA-1CA6B073357B}">
      <dgm:prSet/>
      <dgm:spPr>
        <a:xfrm>
          <a:off x="118869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385BDEF7-42E9-4207-A77D-8E15A7270402}" type="sibTrans" cxnId="{969CF005-3E04-4789-BCEA-1CA6B073357B}">
      <dgm:prSet/>
      <dgm:spPr/>
      <dgm:t>
        <a:bodyPr/>
        <a:lstStyle/>
        <a:p>
          <a:endParaRPr lang="pt-PT"/>
        </a:p>
      </dgm:t>
    </dgm:pt>
    <dgm:pt modelId="{1D2661D7-5CD9-460E-B4C8-3EA3CBD593FA}">
      <dgm:prSet phldrT="[Text]" custT="1"/>
      <dgm:spPr>
        <a:xfrm>
          <a:off x="287585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Nabil</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13187C6-5C6D-4A38-9309-B0A2B17799C0}" type="parTrans" cxnId="{F5689346-0DCC-4975-8577-E9F1FB5371EB}">
      <dgm:prSet/>
      <dgm:spPr>
        <a:xfrm>
          <a:off x="4018280" y="2226989"/>
          <a:ext cx="91440" cy="499020"/>
        </a:xfrm>
        <a:noFill/>
        <a:ln w="25400" cap="flat" cmpd="sng" algn="ctr">
          <a:solidFill>
            <a:srgbClr val="0C6126">
              <a:hueOff val="0"/>
              <a:satOff val="0"/>
              <a:lumOff val="0"/>
              <a:alphaOff val="0"/>
            </a:srgbClr>
          </a:solidFill>
          <a:prstDash val="solid"/>
        </a:ln>
        <a:effectLst/>
      </dgm:spPr>
      <dgm:t>
        <a:bodyPr/>
        <a:lstStyle/>
        <a:p>
          <a:endParaRPr lang="pt-PT"/>
        </a:p>
      </dgm:t>
    </dgm:pt>
    <dgm:pt modelId="{2B8DF214-514D-4157-9709-59EDAB7A0BAB}" type="sibTrans" cxnId="{F5689346-0DCC-4975-8577-E9F1FB5371EB}">
      <dgm:prSet/>
      <dgm:spPr/>
      <dgm:t>
        <a:bodyPr/>
        <a:lstStyle/>
        <a:p>
          <a:endParaRPr lang="pt-PT"/>
        </a:p>
      </dgm:t>
    </dgm:pt>
    <dgm:pt modelId="{B875AD68-D393-4724-8542-A3BF1EC3C924}">
      <dgm:prSet phldrT="[Text]" custT="1"/>
      <dgm:spPr>
        <a:xfrm>
          <a:off x="575116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1</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sd’</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Walter</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C7DB2EE-4266-4406-842A-922AB0175793}" type="parTrans" cxnId="{06045EB8-B4E3-4262-8BC3-3A32656907B6}">
      <dgm:prSet/>
      <dgm:spPr>
        <a:xfrm>
          <a:off x="406400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A24AC74F-9A2B-4B33-B028-DB4B7CF03AE3}" type="sibTrans" cxnId="{06045EB8-B4E3-4262-8BC3-3A32656907B6}">
      <dgm:prSet/>
      <dgm:spPr/>
      <dgm:t>
        <a:bodyPr/>
        <a:lstStyle/>
        <a:p>
          <a:endParaRPr lang="pt-PT"/>
        </a:p>
      </dgm:t>
    </dgm:pt>
    <dgm:pt modelId="{0F880BB6-86DD-46EC-B922-BD1F339A4D23}" type="pres">
      <dgm:prSet presAssocID="{4D9B447D-F1E8-41F3-A54F-4A25D3615A4F}" presName="hierChild1" presStyleCnt="0">
        <dgm:presLayoutVars>
          <dgm:orgChart val="1"/>
          <dgm:chPref val="1"/>
          <dgm:dir/>
          <dgm:animOne val="branch"/>
          <dgm:animLvl val="lvl"/>
          <dgm:resizeHandles/>
        </dgm:presLayoutVars>
      </dgm:prSet>
      <dgm:spPr/>
    </dgm:pt>
    <dgm:pt modelId="{721CCBA3-8F50-42EF-8AD3-9A150604F3F7}" type="pres">
      <dgm:prSet presAssocID="{35AEFCA7-E8E3-4361-A5F1-A83FE7922FE1}" presName="hierRoot1" presStyleCnt="0">
        <dgm:presLayoutVars>
          <dgm:hierBranch val="init"/>
        </dgm:presLayoutVars>
      </dgm:prSet>
      <dgm:spPr/>
    </dgm:pt>
    <dgm:pt modelId="{25BAF2DB-F994-4ED0-9F3D-B4BF78558E68}" type="pres">
      <dgm:prSet presAssocID="{35AEFCA7-E8E3-4361-A5F1-A83FE7922FE1}" presName="rootComposite1" presStyleCnt="0"/>
      <dgm:spPr/>
    </dgm:pt>
    <dgm:pt modelId="{24D229AC-5C13-45F1-A5D1-6AEA78085079}" type="pres">
      <dgm:prSet presAssocID="{35AEFCA7-E8E3-4361-A5F1-A83FE7922FE1}" presName="rootText1" presStyleLbl="node0" presStyleIdx="0" presStyleCnt="1">
        <dgm:presLayoutVars>
          <dgm:chPref val="3"/>
        </dgm:presLayoutVars>
      </dgm:prSet>
      <dgm:spPr/>
    </dgm:pt>
    <dgm:pt modelId="{C7553A6A-D32B-48E7-B854-20605397C6E0}" type="pres">
      <dgm:prSet presAssocID="{35AEFCA7-E8E3-4361-A5F1-A83FE7922FE1}" presName="rootConnector1" presStyleLbl="node1" presStyleIdx="0" presStyleCnt="0"/>
      <dgm:spPr/>
    </dgm:pt>
    <dgm:pt modelId="{83A4E19F-6669-487D-AC60-954B77610BD3}" type="pres">
      <dgm:prSet presAssocID="{35AEFCA7-E8E3-4361-A5F1-A83FE7922FE1}" presName="hierChild2" presStyleCnt="0"/>
      <dgm:spPr/>
    </dgm:pt>
    <dgm:pt modelId="{FA7E2455-E11D-41BF-A377-31974C3C9CFF}" type="pres">
      <dgm:prSet presAssocID="{40994B2B-E312-454C-A7A9-91DB8CD3C737}" presName="Name37" presStyleLbl="parChTrans1D2" presStyleIdx="0" presStyleCnt="3"/>
      <dgm:spPr/>
    </dgm:pt>
    <dgm:pt modelId="{F24E37AD-28D4-4362-A0CC-1DF982197EE7}" type="pres">
      <dgm:prSet presAssocID="{FD6F40A2-AD4C-4424-86A7-23B3305FBF34}" presName="hierRoot2" presStyleCnt="0">
        <dgm:presLayoutVars>
          <dgm:hierBranch val="init"/>
        </dgm:presLayoutVars>
      </dgm:prSet>
      <dgm:spPr/>
    </dgm:pt>
    <dgm:pt modelId="{F0AB9A95-555C-4815-9E19-A12BCBFA9E76}" type="pres">
      <dgm:prSet presAssocID="{FD6F40A2-AD4C-4424-86A7-23B3305FBF34}" presName="rootComposite" presStyleCnt="0"/>
      <dgm:spPr/>
    </dgm:pt>
    <dgm:pt modelId="{B9F78752-7D17-4C5F-80DC-021D7028CDDA}" type="pres">
      <dgm:prSet presAssocID="{FD6F40A2-AD4C-4424-86A7-23B3305FBF34}" presName="rootText" presStyleLbl="node2" presStyleIdx="0" presStyleCnt="3">
        <dgm:presLayoutVars>
          <dgm:chPref val="3"/>
        </dgm:presLayoutVars>
      </dgm:prSet>
      <dgm:spPr/>
    </dgm:pt>
    <dgm:pt modelId="{11EBE3AD-64DA-43A3-878D-B4454A48861D}" type="pres">
      <dgm:prSet presAssocID="{FD6F40A2-AD4C-4424-86A7-23B3305FBF34}" presName="rootConnector" presStyleLbl="node2" presStyleIdx="0" presStyleCnt="3"/>
      <dgm:spPr/>
    </dgm:pt>
    <dgm:pt modelId="{B3059B29-8E1E-43E7-892A-CFF926FE3056}" type="pres">
      <dgm:prSet presAssocID="{FD6F40A2-AD4C-4424-86A7-23B3305FBF34}" presName="hierChild4" presStyleCnt="0"/>
      <dgm:spPr/>
    </dgm:pt>
    <dgm:pt modelId="{9707A965-EDD7-4CEE-BD45-F1A3E9B54C53}" type="pres">
      <dgm:prSet presAssocID="{FD6F40A2-AD4C-4424-86A7-23B3305FBF34}" presName="hierChild5" presStyleCnt="0"/>
      <dgm:spPr/>
    </dgm:pt>
    <dgm:pt modelId="{7A7AE8A4-D57B-4FC0-BB20-18486A0B1EF2}" type="pres">
      <dgm:prSet presAssocID="{B13187C6-5C6D-4A38-9309-B0A2B17799C0}" presName="Name37" presStyleLbl="parChTrans1D2" presStyleIdx="1" presStyleCnt="3"/>
      <dgm:spPr/>
    </dgm:pt>
    <dgm:pt modelId="{855803DC-6A54-420A-A770-7A796B140243}" type="pres">
      <dgm:prSet presAssocID="{1D2661D7-5CD9-460E-B4C8-3EA3CBD593FA}" presName="hierRoot2" presStyleCnt="0">
        <dgm:presLayoutVars>
          <dgm:hierBranch val="init"/>
        </dgm:presLayoutVars>
      </dgm:prSet>
      <dgm:spPr/>
    </dgm:pt>
    <dgm:pt modelId="{52E3AA60-6270-4D8C-84F8-17F710930986}" type="pres">
      <dgm:prSet presAssocID="{1D2661D7-5CD9-460E-B4C8-3EA3CBD593FA}" presName="rootComposite" presStyleCnt="0"/>
      <dgm:spPr/>
    </dgm:pt>
    <dgm:pt modelId="{D9C63EA9-4D2D-40C4-A131-5A603665E439}" type="pres">
      <dgm:prSet presAssocID="{1D2661D7-5CD9-460E-B4C8-3EA3CBD593FA}" presName="rootText" presStyleLbl="node2" presStyleIdx="1" presStyleCnt="3">
        <dgm:presLayoutVars>
          <dgm:chPref val="3"/>
        </dgm:presLayoutVars>
      </dgm:prSet>
      <dgm:spPr/>
    </dgm:pt>
    <dgm:pt modelId="{3771A272-3A56-481B-8FAF-590CF3CBF282}" type="pres">
      <dgm:prSet presAssocID="{1D2661D7-5CD9-460E-B4C8-3EA3CBD593FA}" presName="rootConnector" presStyleLbl="node2" presStyleIdx="1" presStyleCnt="3"/>
      <dgm:spPr/>
    </dgm:pt>
    <dgm:pt modelId="{39A28C8A-EB0F-4A54-B496-DC268045594B}" type="pres">
      <dgm:prSet presAssocID="{1D2661D7-5CD9-460E-B4C8-3EA3CBD593FA}" presName="hierChild4" presStyleCnt="0"/>
      <dgm:spPr/>
    </dgm:pt>
    <dgm:pt modelId="{D8CB5503-FFE4-4013-B684-40601DC2999B}" type="pres">
      <dgm:prSet presAssocID="{1D2661D7-5CD9-460E-B4C8-3EA3CBD593FA}" presName="hierChild5" presStyleCnt="0"/>
      <dgm:spPr/>
    </dgm:pt>
    <dgm:pt modelId="{7172C154-C68A-43EC-8D95-63277D421833}" type="pres">
      <dgm:prSet presAssocID="{BC7DB2EE-4266-4406-842A-922AB0175793}" presName="Name37" presStyleLbl="parChTrans1D2" presStyleIdx="2" presStyleCnt="3"/>
      <dgm:spPr/>
    </dgm:pt>
    <dgm:pt modelId="{03422BC2-6A5D-4E49-AFAA-056C389BF070}" type="pres">
      <dgm:prSet presAssocID="{B875AD68-D393-4724-8542-A3BF1EC3C924}" presName="hierRoot2" presStyleCnt="0">
        <dgm:presLayoutVars>
          <dgm:hierBranch val="init"/>
        </dgm:presLayoutVars>
      </dgm:prSet>
      <dgm:spPr/>
    </dgm:pt>
    <dgm:pt modelId="{0B816678-65A2-4386-BDC2-80F48BADC474}" type="pres">
      <dgm:prSet presAssocID="{B875AD68-D393-4724-8542-A3BF1EC3C924}" presName="rootComposite" presStyleCnt="0"/>
      <dgm:spPr/>
    </dgm:pt>
    <dgm:pt modelId="{CDFF83E9-5A77-42A5-84AE-924C54B5E10B}" type="pres">
      <dgm:prSet presAssocID="{B875AD68-D393-4724-8542-A3BF1EC3C924}" presName="rootText" presStyleLbl="node2" presStyleIdx="2" presStyleCnt="3">
        <dgm:presLayoutVars>
          <dgm:chPref val="3"/>
        </dgm:presLayoutVars>
      </dgm:prSet>
      <dgm:spPr/>
    </dgm:pt>
    <dgm:pt modelId="{C64991D6-85B3-46A6-B787-D645C84965BE}" type="pres">
      <dgm:prSet presAssocID="{B875AD68-D393-4724-8542-A3BF1EC3C924}" presName="rootConnector" presStyleLbl="node2" presStyleIdx="2" presStyleCnt="3"/>
      <dgm:spPr/>
    </dgm:pt>
    <dgm:pt modelId="{AC88EA00-1EB5-41AA-A05A-D69EA9E91FBA}" type="pres">
      <dgm:prSet presAssocID="{B875AD68-D393-4724-8542-A3BF1EC3C924}" presName="hierChild4" presStyleCnt="0"/>
      <dgm:spPr/>
    </dgm:pt>
    <dgm:pt modelId="{782F0D9C-4FA2-40A3-93EB-4EBF6EEAB4CE}" type="pres">
      <dgm:prSet presAssocID="{B875AD68-D393-4724-8542-A3BF1EC3C924}" presName="hierChild5" presStyleCnt="0"/>
      <dgm:spPr/>
    </dgm:pt>
    <dgm:pt modelId="{27A47A7B-9572-46FE-9401-95126CD7498A}" type="pres">
      <dgm:prSet presAssocID="{35AEFCA7-E8E3-4361-A5F1-A83FE7922FE1}" presName="hierChild3" presStyleCnt="0"/>
      <dgm:spPr/>
    </dgm:pt>
  </dgm:ptLst>
  <dgm:cxnLst>
    <dgm:cxn modelId="{969CF005-3E04-4789-BCEA-1CA6B073357B}" srcId="{35AEFCA7-E8E3-4361-A5F1-A83FE7922FE1}" destId="{FD6F40A2-AD4C-4424-86A7-23B3305FBF34}" srcOrd="0" destOrd="0" parTransId="{40994B2B-E312-454C-A7A9-91DB8CD3C737}" sibTransId="{385BDEF7-42E9-4207-A77D-8E15A7270402}"/>
    <dgm:cxn modelId="{66DE0F36-8E8D-40E0-81F6-F3C821E0D068}" type="presOf" srcId="{35AEFCA7-E8E3-4361-A5F1-A83FE7922FE1}" destId="{24D229AC-5C13-45F1-A5D1-6AEA78085079}" srcOrd="0" destOrd="0" presId="urn:microsoft.com/office/officeart/2005/8/layout/orgChart1"/>
    <dgm:cxn modelId="{489A245D-FCE4-4CDF-ADC3-0C3AB35537D6}" type="presOf" srcId="{FD6F40A2-AD4C-4424-86A7-23B3305FBF34}" destId="{11EBE3AD-64DA-43A3-878D-B4454A48861D}" srcOrd="1" destOrd="0" presId="urn:microsoft.com/office/officeart/2005/8/layout/orgChart1"/>
    <dgm:cxn modelId="{5AF69763-7AA2-4D38-A93D-840F3369970F}" type="presOf" srcId="{40994B2B-E312-454C-A7A9-91DB8CD3C737}" destId="{FA7E2455-E11D-41BF-A377-31974C3C9CFF}" srcOrd="0" destOrd="0" presId="urn:microsoft.com/office/officeart/2005/8/layout/orgChart1"/>
    <dgm:cxn modelId="{508B3746-5309-4FD7-AC71-A614D268E5BB}" type="presOf" srcId="{1D2661D7-5CD9-460E-B4C8-3EA3CBD593FA}" destId="{D9C63EA9-4D2D-40C4-A131-5A603665E439}" srcOrd="0" destOrd="0" presId="urn:microsoft.com/office/officeart/2005/8/layout/orgChart1"/>
    <dgm:cxn modelId="{F5689346-0DCC-4975-8577-E9F1FB5371EB}" srcId="{35AEFCA7-E8E3-4361-A5F1-A83FE7922FE1}" destId="{1D2661D7-5CD9-460E-B4C8-3EA3CBD593FA}" srcOrd="1" destOrd="0" parTransId="{B13187C6-5C6D-4A38-9309-B0A2B17799C0}" sibTransId="{2B8DF214-514D-4157-9709-59EDAB7A0BAB}"/>
    <dgm:cxn modelId="{D330654A-D9CA-47DA-BAE8-AB35A9933D2E}" type="presOf" srcId="{35AEFCA7-E8E3-4361-A5F1-A83FE7922FE1}" destId="{C7553A6A-D32B-48E7-B854-20605397C6E0}" srcOrd="1" destOrd="0" presId="urn:microsoft.com/office/officeart/2005/8/layout/orgChart1"/>
    <dgm:cxn modelId="{A0CFBF6B-63C0-41B9-A086-F5CD29CCA59A}" type="presOf" srcId="{FD6F40A2-AD4C-4424-86A7-23B3305FBF34}" destId="{B9F78752-7D17-4C5F-80DC-021D7028CDDA}" srcOrd="0" destOrd="0" presId="urn:microsoft.com/office/officeart/2005/8/layout/orgChart1"/>
    <dgm:cxn modelId="{D39E0654-3D9E-4327-8426-B3BC4A49CAB7}" type="presOf" srcId="{B13187C6-5C6D-4A38-9309-B0A2B17799C0}" destId="{7A7AE8A4-D57B-4FC0-BB20-18486A0B1EF2}" srcOrd="0" destOrd="0" presId="urn:microsoft.com/office/officeart/2005/8/layout/orgChart1"/>
    <dgm:cxn modelId="{60596682-1BA5-4030-A49B-01AFDA02185C}" srcId="{4D9B447D-F1E8-41F3-A54F-4A25D3615A4F}" destId="{35AEFCA7-E8E3-4361-A5F1-A83FE7922FE1}" srcOrd="0" destOrd="0" parTransId="{317E66B7-FBB8-42D1-88CB-48F75EB30F30}" sibTransId="{D52EF789-2101-44FA-8855-3582CBE1FAF6}"/>
    <dgm:cxn modelId="{A5905F84-68AF-4E2E-B564-17C49EDC4E97}" type="presOf" srcId="{4D9B447D-F1E8-41F3-A54F-4A25D3615A4F}" destId="{0F880BB6-86DD-46EC-B922-BD1F339A4D23}" srcOrd="0" destOrd="0" presId="urn:microsoft.com/office/officeart/2005/8/layout/orgChart1"/>
    <dgm:cxn modelId="{615DC2A8-1859-47FA-BC31-06C298C53A40}" type="presOf" srcId="{BC7DB2EE-4266-4406-842A-922AB0175793}" destId="{7172C154-C68A-43EC-8D95-63277D421833}" srcOrd="0" destOrd="0" presId="urn:microsoft.com/office/officeart/2005/8/layout/orgChart1"/>
    <dgm:cxn modelId="{06045EB8-B4E3-4262-8BC3-3A32656907B6}" srcId="{35AEFCA7-E8E3-4361-A5F1-A83FE7922FE1}" destId="{B875AD68-D393-4724-8542-A3BF1EC3C924}" srcOrd="2" destOrd="0" parTransId="{BC7DB2EE-4266-4406-842A-922AB0175793}" sibTransId="{A24AC74F-9A2B-4B33-B028-DB4B7CF03AE3}"/>
    <dgm:cxn modelId="{3BB3D9B8-C6FC-43A6-9007-6717CAFEB474}" type="presOf" srcId="{1D2661D7-5CD9-460E-B4C8-3EA3CBD593FA}" destId="{3771A272-3A56-481B-8FAF-590CF3CBF282}" srcOrd="1" destOrd="0" presId="urn:microsoft.com/office/officeart/2005/8/layout/orgChart1"/>
    <dgm:cxn modelId="{16FEFBBD-6421-4EE2-9A84-CBA74620C33F}" type="presOf" srcId="{B875AD68-D393-4724-8542-A3BF1EC3C924}" destId="{CDFF83E9-5A77-42A5-84AE-924C54B5E10B}" srcOrd="0" destOrd="0" presId="urn:microsoft.com/office/officeart/2005/8/layout/orgChart1"/>
    <dgm:cxn modelId="{C505ACFC-A31F-48D2-B352-B5A50F42964A}" type="presOf" srcId="{B875AD68-D393-4724-8542-A3BF1EC3C924}" destId="{C64991D6-85B3-46A6-B787-D645C84965BE}" srcOrd="1" destOrd="0" presId="urn:microsoft.com/office/officeart/2005/8/layout/orgChart1"/>
    <dgm:cxn modelId="{46A8BB3F-6387-42DE-8F06-B6A7D55B98BB}" type="presParOf" srcId="{0F880BB6-86DD-46EC-B922-BD1F339A4D23}" destId="{721CCBA3-8F50-42EF-8AD3-9A150604F3F7}" srcOrd="0" destOrd="0" presId="urn:microsoft.com/office/officeart/2005/8/layout/orgChart1"/>
    <dgm:cxn modelId="{ED04A22A-12B3-4893-9B36-1153836757D8}" type="presParOf" srcId="{721CCBA3-8F50-42EF-8AD3-9A150604F3F7}" destId="{25BAF2DB-F994-4ED0-9F3D-B4BF78558E68}" srcOrd="0" destOrd="0" presId="urn:microsoft.com/office/officeart/2005/8/layout/orgChart1"/>
    <dgm:cxn modelId="{B3C82D9F-C945-4A8E-BEFD-C6D28EE0F251}" type="presParOf" srcId="{25BAF2DB-F994-4ED0-9F3D-B4BF78558E68}" destId="{24D229AC-5C13-45F1-A5D1-6AEA78085079}" srcOrd="0" destOrd="0" presId="urn:microsoft.com/office/officeart/2005/8/layout/orgChart1"/>
    <dgm:cxn modelId="{B17548F8-E273-426B-9D94-0303C55BC128}" type="presParOf" srcId="{25BAF2DB-F994-4ED0-9F3D-B4BF78558E68}" destId="{C7553A6A-D32B-48E7-B854-20605397C6E0}" srcOrd="1" destOrd="0" presId="urn:microsoft.com/office/officeart/2005/8/layout/orgChart1"/>
    <dgm:cxn modelId="{70EB969B-D993-4EAE-A8C6-6D6DA218E646}" type="presParOf" srcId="{721CCBA3-8F50-42EF-8AD3-9A150604F3F7}" destId="{83A4E19F-6669-487D-AC60-954B77610BD3}" srcOrd="1" destOrd="0" presId="urn:microsoft.com/office/officeart/2005/8/layout/orgChart1"/>
    <dgm:cxn modelId="{DD4D5B94-CB69-425B-A68F-2D632F0D5D6A}" type="presParOf" srcId="{83A4E19F-6669-487D-AC60-954B77610BD3}" destId="{FA7E2455-E11D-41BF-A377-31974C3C9CFF}" srcOrd="0" destOrd="0" presId="urn:microsoft.com/office/officeart/2005/8/layout/orgChart1"/>
    <dgm:cxn modelId="{442DE3B6-89A9-4657-9E12-8E5472CA93CA}" type="presParOf" srcId="{83A4E19F-6669-487D-AC60-954B77610BD3}" destId="{F24E37AD-28D4-4362-A0CC-1DF982197EE7}" srcOrd="1" destOrd="0" presId="urn:microsoft.com/office/officeart/2005/8/layout/orgChart1"/>
    <dgm:cxn modelId="{13AD68E1-A22B-4CAB-8192-1DB84940F194}" type="presParOf" srcId="{F24E37AD-28D4-4362-A0CC-1DF982197EE7}" destId="{F0AB9A95-555C-4815-9E19-A12BCBFA9E76}" srcOrd="0" destOrd="0" presId="urn:microsoft.com/office/officeart/2005/8/layout/orgChart1"/>
    <dgm:cxn modelId="{BBF4103B-97FC-44A9-AD7B-D02F1668B041}" type="presParOf" srcId="{F0AB9A95-555C-4815-9E19-A12BCBFA9E76}" destId="{B9F78752-7D17-4C5F-80DC-021D7028CDDA}" srcOrd="0" destOrd="0" presId="urn:microsoft.com/office/officeart/2005/8/layout/orgChart1"/>
    <dgm:cxn modelId="{E025A67B-168A-4C94-BC18-33245FFD8297}" type="presParOf" srcId="{F0AB9A95-555C-4815-9E19-A12BCBFA9E76}" destId="{11EBE3AD-64DA-43A3-878D-B4454A48861D}" srcOrd="1" destOrd="0" presId="urn:microsoft.com/office/officeart/2005/8/layout/orgChart1"/>
    <dgm:cxn modelId="{DB87ABCD-4510-4E76-8B34-F80707386C0C}" type="presParOf" srcId="{F24E37AD-28D4-4362-A0CC-1DF982197EE7}" destId="{B3059B29-8E1E-43E7-892A-CFF926FE3056}" srcOrd="1" destOrd="0" presId="urn:microsoft.com/office/officeart/2005/8/layout/orgChart1"/>
    <dgm:cxn modelId="{69B9D66D-2002-412D-BC7C-EA7D6FF92F79}" type="presParOf" srcId="{F24E37AD-28D4-4362-A0CC-1DF982197EE7}" destId="{9707A965-EDD7-4CEE-BD45-F1A3E9B54C53}" srcOrd="2" destOrd="0" presId="urn:microsoft.com/office/officeart/2005/8/layout/orgChart1"/>
    <dgm:cxn modelId="{C583E531-0867-476E-B86D-7535F099AB69}" type="presParOf" srcId="{83A4E19F-6669-487D-AC60-954B77610BD3}" destId="{7A7AE8A4-D57B-4FC0-BB20-18486A0B1EF2}" srcOrd="2" destOrd="0" presId="urn:microsoft.com/office/officeart/2005/8/layout/orgChart1"/>
    <dgm:cxn modelId="{9C145765-C22E-47CE-B014-2E9E8D5598AD}" type="presParOf" srcId="{83A4E19F-6669-487D-AC60-954B77610BD3}" destId="{855803DC-6A54-420A-A770-7A796B140243}" srcOrd="3" destOrd="0" presId="urn:microsoft.com/office/officeart/2005/8/layout/orgChart1"/>
    <dgm:cxn modelId="{EDE7A932-EDAF-4CF9-AA84-B0F08A984DAB}" type="presParOf" srcId="{855803DC-6A54-420A-A770-7A796B140243}" destId="{52E3AA60-6270-4D8C-84F8-17F710930986}" srcOrd="0" destOrd="0" presId="urn:microsoft.com/office/officeart/2005/8/layout/orgChart1"/>
    <dgm:cxn modelId="{2C3D7461-F17B-42F3-8D14-0391D65FB16C}" type="presParOf" srcId="{52E3AA60-6270-4D8C-84F8-17F710930986}" destId="{D9C63EA9-4D2D-40C4-A131-5A603665E439}" srcOrd="0" destOrd="0" presId="urn:microsoft.com/office/officeart/2005/8/layout/orgChart1"/>
    <dgm:cxn modelId="{F68FEDCB-E190-45B2-9725-EFAC82B9F035}" type="presParOf" srcId="{52E3AA60-6270-4D8C-84F8-17F710930986}" destId="{3771A272-3A56-481B-8FAF-590CF3CBF282}" srcOrd="1" destOrd="0" presId="urn:microsoft.com/office/officeart/2005/8/layout/orgChart1"/>
    <dgm:cxn modelId="{8108BF4E-CEC2-49DD-B369-8F212F709C05}" type="presParOf" srcId="{855803DC-6A54-420A-A770-7A796B140243}" destId="{39A28C8A-EB0F-4A54-B496-DC268045594B}" srcOrd="1" destOrd="0" presId="urn:microsoft.com/office/officeart/2005/8/layout/orgChart1"/>
    <dgm:cxn modelId="{13E18011-CC0B-42FC-887B-F20EE958555E}" type="presParOf" srcId="{855803DC-6A54-420A-A770-7A796B140243}" destId="{D8CB5503-FFE4-4013-B684-40601DC2999B}" srcOrd="2" destOrd="0" presId="urn:microsoft.com/office/officeart/2005/8/layout/orgChart1"/>
    <dgm:cxn modelId="{2FCA7551-B39C-4C30-AD48-5C27FFA0489D}" type="presParOf" srcId="{83A4E19F-6669-487D-AC60-954B77610BD3}" destId="{7172C154-C68A-43EC-8D95-63277D421833}" srcOrd="4" destOrd="0" presId="urn:microsoft.com/office/officeart/2005/8/layout/orgChart1"/>
    <dgm:cxn modelId="{99FAEDB1-1D0C-4912-B2C6-6C03338A1F21}" type="presParOf" srcId="{83A4E19F-6669-487D-AC60-954B77610BD3}" destId="{03422BC2-6A5D-4E49-AFAA-056C389BF070}" srcOrd="5" destOrd="0" presId="urn:microsoft.com/office/officeart/2005/8/layout/orgChart1"/>
    <dgm:cxn modelId="{3926EC4A-D9DB-4FA3-8B03-DAC3FE48A3C7}" type="presParOf" srcId="{03422BC2-6A5D-4E49-AFAA-056C389BF070}" destId="{0B816678-65A2-4386-BDC2-80F48BADC474}" srcOrd="0" destOrd="0" presId="urn:microsoft.com/office/officeart/2005/8/layout/orgChart1"/>
    <dgm:cxn modelId="{FDFFF0F2-EBA0-478F-B8E4-153610319B6D}" type="presParOf" srcId="{0B816678-65A2-4386-BDC2-80F48BADC474}" destId="{CDFF83E9-5A77-42A5-84AE-924C54B5E10B}" srcOrd="0" destOrd="0" presId="urn:microsoft.com/office/officeart/2005/8/layout/orgChart1"/>
    <dgm:cxn modelId="{96F0520A-8233-48E1-94D9-55AB1254F3D6}" type="presParOf" srcId="{0B816678-65A2-4386-BDC2-80F48BADC474}" destId="{C64991D6-85B3-46A6-B787-D645C84965BE}" srcOrd="1" destOrd="0" presId="urn:microsoft.com/office/officeart/2005/8/layout/orgChart1"/>
    <dgm:cxn modelId="{CF49A02C-8A90-4E89-9B52-CCA13F1D98C1}" type="presParOf" srcId="{03422BC2-6A5D-4E49-AFAA-056C389BF070}" destId="{AC88EA00-1EB5-41AA-A05A-D69EA9E91FBA}" srcOrd="1" destOrd="0" presId="urn:microsoft.com/office/officeart/2005/8/layout/orgChart1"/>
    <dgm:cxn modelId="{04697A90-F143-45CD-9867-13633285E678}" type="presParOf" srcId="{03422BC2-6A5D-4E49-AFAA-056C389BF070}" destId="{782F0D9C-4FA2-40A3-93EB-4EBF6EEAB4CE}" srcOrd="2" destOrd="0" presId="urn:microsoft.com/office/officeart/2005/8/layout/orgChart1"/>
    <dgm:cxn modelId="{CBD4CC02-B42B-4617-8AAC-79CB19712D3F}" type="presParOf" srcId="{721CCBA3-8F50-42EF-8AD3-9A150604F3F7}" destId="{27A47A7B-9572-46FE-9401-95126CD7498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0" i="0" dirty="0"/>
            <a:t>Resolve aliases of columns and tables</a:t>
          </a:r>
          <a:endParaRPr lang="en-US" sz="2800" dirty="0"/>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dirty="0"/>
            <a:t>D</a:t>
          </a:r>
          <a:r>
            <a:rPr lang="en-US" sz="2800" b="0" i="0" dirty="0"/>
            <a:t>ata types and if </a:t>
          </a:r>
          <a:r>
            <a:rPr lang="en-US" sz="2800" b="0" i="0" u="none" dirty="0"/>
            <a:t>implicit data type conversions are needed.</a:t>
          </a:r>
          <a:endParaRPr lang="en-US" sz="2800" b="0" u="none" dirty="0"/>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C29C0580-380C-475F-B294-F560B99136E8}">
      <dgm:prSet custT="1"/>
      <dgm:spPr/>
      <dgm:t>
        <a:bodyPr/>
        <a:lstStyle/>
        <a:p>
          <a:r>
            <a:rPr lang="en-US" sz="2800" b="0" i="0" dirty="0"/>
            <a:t>Object names (Tables, Views, Columns, etc.) to see if they exist. </a:t>
          </a:r>
          <a:endParaRPr lang="en-US" sz="2800" dirty="0"/>
        </a:p>
      </dgm:t>
    </dgm:pt>
    <dgm:pt modelId="{B81A5DFF-FB05-4AC6-9AC0-CEB2E43C3E8E}" type="parTrans" cxnId="{8BD6531B-5E17-491C-B9AB-89A49D849701}">
      <dgm:prSet/>
      <dgm:spPr/>
      <dgm:t>
        <a:bodyPr/>
        <a:lstStyle/>
        <a:p>
          <a:endParaRPr lang="en-US"/>
        </a:p>
      </dgm:t>
    </dgm:pt>
    <dgm:pt modelId="{86784B88-A561-4F6A-B32E-8590CAAA5DE7}" type="sibTrans" cxnId="{8BD6531B-5E17-491C-B9AB-89A49D849701}">
      <dgm:prSet/>
      <dgm:spPr/>
      <dgm:t>
        <a:bodyPr/>
        <a:lstStyle/>
        <a:p>
          <a:endParaRPr lang="en-US"/>
        </a:p>
      </dgm:t>
    </dgm:pt>
    <dgm:pt modelId="{8DD2FA70-9397-4F54-B54D-E6C8748ACD9A}">
      <dgm:prSet custT="1"/>
      <dgm:spPr/>
      <dgm:t>
        <a:bodyPr/>
        <a:lstStyle/>
        <a:p>
          <a:r>
            <a:rPr lang="en-US" sz="2800" dirty="0"/>
            <a:t>U</a:t>
          </a:r>
          <a:r>
            <a:rPr lang="en-US" sz="2800" b="0" i="0" dirty="0"/>
            <a:t>ser permissions are checked.</a:t>
          </a:r>
          <a:endParaRPr lang="en-US" sz="2800" dirty="0"/>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a:t>Does </a:t>
          </a:r>
          <a:r>
            <a:rPr lang="en-US" sz="2800" dirty="0"/>
            <a:t>a cached plan exist?</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5">
        <dgm:presLayoutVars>
          <dgm:chMax val="0"/>
          <dgm:bulletEnabled val="1"/>
        </dgm:presLayoutVars>
      </dgm:prSet>
      <dgm:spPr/>
    </dgm:pt>
    <dgm:pt modelId="{D24E65A7-D984-4BE0-A3AC-00C9B80A30C7}" type="pres">
      <dgm:prSet presAssocID="{99E671E6-B442-4600-ADB2-94F414A453C9}" presName="spacer" presStyleCnt="0"/>
      <dgm:spPr/>
    </dgm:pt>
    <dgm:pt modelId="{7857B639-65CC-486C-8EFD-A918198FC586}" type="pres">
      <dgm:prSet presAssocID="{C29C0580-380C-475F-B294-F560B99136E8}" presName="parentText" presStyleLbl="node1" presStyleIdx="2" presStyleCnt="5">
        <dgm:presLayoutVars>
          <dgm:chMax val="0"/>
          <dgm:bulletEnabled val="1"/>
        </dgm:presLayoutVars>
      </dgm:prSet>
      <dgm:spPr/>
    </dgm:pt>
    <dgm:pt modelId="{85775E6F-2CAC-4396-BDAA-C80D85B4E150}" type="pres">
      <dgm:prSet presAssocID="{86784B88-A561-4F6A-B32E-8590CAAA5DE7}" presName="spacer" presStyleCnt="0"/>
      <dgm:spPr/>
    </dgm:pt>
    <dgm:pt modelId="{524A67A9-B79C-4B23-9404-C87D61A30585}" type="pres">
      <dgm:prSet presAssocID="{6F25A546-799D-436A-9037-49D14AF4A107}" presName="parentText" presStyleLbl="node1" presStyleIdx="3" presStyleCnt="5">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8BD6531B-5E17-491C-B9AB-89A49D849701}" srcId="{AA501054-7272-43B7-9574-3FDFD3E347D2}" destId="{C29C0580-380C-475F-B294-F560B99136E8}" srcOrd="2" destOrd="0" parTransId="{B81A5DFF-FB05-4AC6-9AC0-CEB2E43C3E8E}" sibTransId="{86784B88-A561-4F6A-B32E-8590CAAA5DE7}"/>
    <dgm:cxn modelId="{260C2B35-2603-4987-96A2-6623FE1BF16A}" srcId="{AA501054-7272-43B7-9574-3FDFD3E347D2}" destId="{6F25A546-799D-436A-9037-49D14AF4A107}" srcOrd="3"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76850F7C-2836-46DA-8CC5-478DEE861D09}" type="presOf" srcId="{C29C0580-380C-475F-B294-F560B99136E8}" destId="{7857B639-65CC-486C-8EFD-A918198FC586}"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8DD05156-DC9D-4667-80D6-561D99B00531}" type="presParOf" srcId="{2BA53DE8-C882-45F0-A3F5-C5DB2EE1F088}" destId="{7857B639-65CC-486C-8EFD-A918198FC586}" srcOrd="4" destOrd="0" presId="urn:microsoft.com/office/officeart/2005/8/layout/vList2"/>
    <dgm:cxn modelId="{22525807-82D7-4CFD-83A8-D3B99F090A31}" type="presParOf" srcId="{2BA53DE8-C882-45F0-A3F5-C5DB2EE1F088}" destId="{85775E6F-2CAC-4396-BDAA-C80D85B4E150}" srcOrd="5" destOrd="0" presId="urn:microsoft.com/office/officeart/2005/8/layout/vList2"/>
    <dgm:cxn modelId="{F33D468F-660E-4798-B38F-A173D19F5E6E}" type="presParOf" srcId="{2BA53DE8-C882-45F0-A3F5-C5DB2EE1F088}" destId="{524A67A9-B79C-4B23-9404-C87D61A30585}" srcOrd="6" destOrd="0" presId="urn:microsoft.com/office/officeart/2005/8/layout/vList2"/>
    <dgm:cxn modelId="{A70133C2-F1A7-4FB1-ADD3-7B60A3684474}" type="presParOf" srcId="{2BA53DE8-C882-45F0-A3F5-C5DB2EE1F088}" destId="{EC537CA7-1C8C-4D67-A2FF-A17DA2A5082B}"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540920B-2C4F-43B4-89AD-64EEC6019E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946E55A-32BE-49E8-B556-ED036734050F}">
      <dgm:prSet custT="1"/>
      <dgm:spPr/>
      <dgm:t>
        <a:bodyPr/>
        <a:lstStyle/>
        <a:p>
          <a:r>
            <a:rPr lang="en-US" sz="2000" dirty="0"/>
            <a:t>Constant Folding: Expressions with constant values are reduced</a:t>
          </a:r>
        </a:p>
      </dgm:t>
    </dgm:pt>
    <dgm:pt modelId="{EA755BDB-65F6-4BFF-8D2D-9EB7DD41FF8F}" type="parTrans" cxnId="{329B2D8D-9983-4F7F-804F-6A886C19DDA2}">
      <dgm:prSet/>
      <dgm:spPr/>
      <dgm:t>
        <a:bodyPr/>
        <a:lstStyle/>
        <a:p>
          <a:endParaRPr lang="en-US"/>
        </a:p>
      </dgm:t>
    </dgm:pt>
    <dgm:pt modelId="{4FFCA6CC-1E83-4DF3-9B27-D7CDE4CD4CC7}" type="sibTrans" cxnId="{329B2D8D-9983-4F7F-804F-6A886C19DDA2}">
      <dgm:prSet/>
      <dgm:spPr/>
      <dgm:t>
        <a:bodyPr/>
        <a:lstStyle/>
        <a:p>
          <a:endParaRPr lang="en-US"/>
        </a:p>
      </dgm:t>
    </dgm:pt>
    <dgm:pt modelId="{3964F9BA-4FF7-40BE-8120-77511C7AF0BF}">
      <dgm:prSet custT="1"/>
      <dgm:spPr/>
      <dgm:t>
        <a:bodyPr/>
        <a:lstStyle/>
        <a:p>
          <a:r>
            <a:rPr lang="en-US" sz="2000" b="1" dirty="0"/>
            <a:t>Quantity = 2 + 3 </a:t>
          </a:r>
          <a:r>
            <a:rPr lang="en-US" sz="2000" dirty="0"/>
            <a:t>becomes </a:t>
          </a:r>
          <a:r>
            <a:rPr lang="en-US" sz="2000" b="1" dirty="0"/>
            <a:t>Quantity =  5</a:t>
          </a:r>
          <a:endParaRPr lang="en-US" sz="2000" dirty="0"/>
        </a:p>
      </dgm:t>
    </dgm:pt>
    <dgm:pt modelId="{17F806FC-E47D-4C25-8BAA-12601E84478E}" type="parTrans" cxnId="{B6B22C22-4C47-4ACC-927D-7868A0BE8D14}">
      <dgm:prSet/>
      <dgm:spPr/>
      <dgm:t>
        <a:bodyPr/>
        <a:lstStyle/>
        <a:p>
          <a:endParaRPr lang="en-US"/>
        </a:p>
      </dgm:t>
    </dgm:pt>
    <dgm:pt modelId="{E6DECC28-ADCA-46D0-AB34-D401A8CAA11B}" type="sibTrans" cxnId="{B6B22C22-4C47-4ACC-927D-7868A0BE8D14}">
      <dgm:prSet/>
      <dgm:spPr/>
      <dgm:t>
        <a:bodyPr/>
        <a:lstStyle/>
        <a:p>
          <a:endParaRPr lang="en-US"/>
        </a:p>
      </dgm:t>
    </dgm:pt>
    <dgm:pt modelId="{871DBBC0-5C02-42CD-9E80-91D0DE976C8E}">
      <dgm:prSet custT="1"/>
      <dgm:spPr/>
      <dgm:t>
        <a:bodyPr/>
        <a:lstStyle/>
        <a:p>
          <a:r>
            <a:rPr lang="en-US" sz="2000" b="1" dirty="0"/>
            <a:t>1=1 </a:t>
          </a:r>
          <a:r>
            <a:rPr lang="en-US" sz="2000" dirty="0"/>
            <a:t>becomes </a:t>
          </a:r>
          <a:r>
            <a:rPr lang="en-US" sz="2000" b="1" dirty="0"/>
            <a:t>True </a:t>
          </a:r>
          <a:endParaRPr lang="en-US" sz="2000" dirty="0"/>
        </a:p>
      </dgm:t>
    </dgm:pt>
    <dgm:pt modelId="{5D1DF68D-ECF1-435B-B687-3E2A5E695C2C}" type="parTrans" cxnId="{0C7F89D9-9D00-4EDF-8BA7-A27752D7AD7E}">
      <dgm:prSet/>
      <dgm:spPr/>
      <dgm:t>
        <a:bodyPr/>
        <a:lstStyle/>
        <a:p>
          <a:endParaRPr lang="en-US"/>
        </a:p>
      </dgm:t>
    </dgm:pt>
    <dgm:pt modelId="{AAABE9F4-B57C-45B3-BDFA-761691D68588}" type="sibTrans" cxnId="{0C7F89D9-9D00-4EDF-8BA7-A27752D7AD7E}">
      <dgm:prSet/>
      <dgm:spPr/>
      <dgm:t>
        <a:bodyPr/>
        <a:lstStyle/>
        <a:p>
          <a:endParaRPr lang="en-US"/>
        </a:p>
      </dgm:t>
    </dgm:pt>
    <dgm:pt modelId="{76B3B042-5773-4AF0-A342-03BD63583AE1}">
      <dgm:prSet custT="1"/>
      <dgm:spPr/>
      <dgm:t>
        <a:bodyPr/>
        <a:lstStyle/>
        <a:p>
          <a:r>
            <a:rPr lang="en-US" sz="2000" dirty="0"/>
            <a:t>Contradiction Detection: Removes criteria that doesn’t match table constraints</a:t>
          </a:r>
        </a:p>
      </dgm:t>
    </dgm:pt>
    <dgm:pt modelId="{A36F6669-AD87-46CE-9AB1-E58B8B67CE26}" type="parTrans" cxnId="{BC5865D9-28E2-4855-A1F5-28EF2B6A834E}">
      <dgm:prSet/>
      <dgm:spPr/>
      <dgm:t>
        <a:bodyPr/>
        <a:lstStyle/>
        <a:p>
          <a:endParaRPr lang="en-US"/>
        </a:p>
      </dgm:t>
    </dgm:pt>
    <dgm:pt modelId="{0EBFAFB6-67BA-4D31-A1F8-D53B5916C74B}" type="sibTrans" cxnId="{BC5865D9-28E2-4855-A1F5-28EF2B6A834E}">
      <dgm:prSet/>
      <dgm:spPr/>
      <dgm:t>
        <a:bodyPr/>
        <a:lstStyle/>
        <a:p>
          <a:endParaRPr lang="en-US"/>
        </a:p>
      </dgm:t>
    </dgm:pt>
    <dgm:pt modelId="{076924B9-43A7-4A09-A0A0-51577E02992A}">
      <dgm:prSet custT="1"/>
      <dgm:spPr/>
      <dgm:t>
        <a:bodyPr/>
        <a:lstStyle/>
        <a:p>
          <a:r>
            <a:rPr lang="en-US" sz="2000" b="1" dirty="0"/>
            <a:t>Constraint: </a:t>
          </a:r>
          <a:r>
            <a:rPr lang="en-US" sz="2000" dirty="0"/>
            <a:t>Age &gt; 18</a:t>
          </a:r>
        </a:p>
      </dgm:t>
    </dgm:pt>
    <dgm:pt modelId="{D89B5B6B-BBB9-4D9B-AF87-249D01D07956}" type="parTrans" cxnId="{A0584668-E5D7-46AA-99CE-52F59A921508}">
      <dgm:prSet/>
      <dgm:spPr/>
      <dgm:t>
        <a:bodyPr/>
        <a:lstStyle/>
        <a:p>
          <a:endParaRPr lang="en-US"/>
        </a:p>
      </dgm:t>
    </dgm:pt>
    <dgm:pt modelId="{6FDEDA38-CC46-422E-A22D-E692CF57B8D2}" type="sibTrans" cxnId="{A0584668-E5D7-46AA-99CE-52F59A921508}">
      <dgm:prSet/>
      <dgm:spPr/>
      <dgm:t>
        <a:bodyPr/>
        <a:lstStyle/>
        <a:p>
          <a:endParaRPr lang="en-US"/>
        </a:p>
      </dgm:t>
    </dgm:pt>
    <dgm:pt modelId="{637A78A2-5937-4FFB-9D4D-653846F4F401}">
      <dgm:prSet custT="1"/>
      <dgm:spPr/>
      <dgm:t>
        <a:bodyPr/>
        <a:lstStyle/>
        <a:p>
          <a:r>
            <a:rPr lang="en-US" sz="2000" b="1" dirty="0"/>
            <a:t>Contradiction: </a:t>
          </a:r>
          <a:r>
            <a:rPr lang="en-US" sz="2000" dirty="0"/>
            <a:t>WHERE Age &lt; 18</a:t>
          </a:r>
        </a:p>
      </dgm:t>
    </dgm:pt>
    <dgm:pt modelId="{326A3761-38CF-430A-823F-835DB6D9D681}" type="parTrans" cxnId="{7833CA04-16BB-46D1-8B5F-259F1602A19F}">
      <dgm:prSet/>
      <dgm:spPr/>
      <dgm:t>
        <a:bodyPr/>
        <a:lstStyle/>
        <a:p>
          <a:endParaRPr lang="en-US"/>
        </a:p>
      </dgm:t>
    </dgm:pt>
    <dgm:pt modelId="{D9BCB6D1-8F0A-4413-806C-CF398451F3E3}" type="sibTrans" cxnId="{7833CA04-16BB-46D1-8B5F-259F1602A19F}">
      <dgm:prSet/>
      <dgm:spPr/>
      <dgm:t>
        <a:bodyPr/>
        <a:lstStyle/>
        <a:p>
          <a:endParaRPr lang="en-US"/>
        </a:p>
      </dgm:t>
    </dgm:pt>
    <dgm:pt modelId="{A9D25BD0-BE09-4345-BADE-D4F2B24CCE15}">
      <dgm:prSet custT="1"/>
      <dgm:spPr/>
      <dgm:t>
        <a:bodyPr/>
        <a:lstStyle/>
        <a:p>
          <a:r>
            <a:rPr lang="en-US" sz="2000" dirty="0"/>
            <a:t>Domain Simplification: Reduces complex ranges to simple ranges</a:t>
          </a:r>
        </a:p>
      </dgm:t>
    </dgm:pt>
    <dgm:pt modelId="{4DD442C8-D1CC-4724-974D-833E6852A84E}" type="parTrans" cxnId="{E4C4C425-C11C-4398-900F-D51AA5D17E08}">
      <dgm:prSet/>
      <dgm:spPr/>
      <dgm:t>
        <a:bodyPr/>
        <a:lstStyle/>
        <a:p>
          <a:endParaRPr lang="en-US"/>
        </a:p>
      </dgm:t>
    </dgm:pt>
    <dgm:pt modelId="{AEFA25C7-5D27-45F1-9593-A65F3B64ADB9}" type="sibTrans" cxnId="{E4C4C425-C11C-4398-900F-D51AA5D17E08}">
      <dgm:prSet/>
      <dgm:spPr/>
      <dgm:t>
        <a:bodyPr/>
        <a:lstStyle/>
        <a:p>
          <a:endParaRPr lang="en-US"/>
        </a:p>
      </dgm:t>
    </dgm:pt>
    <dgm:pt modelId="{7F438570-B1D3-4200-A192-AF8BDAD44F69}">
      <dgm:prSet custT="1"/>
      <dgm:spPr/>
      <dgm:t>
        <a:bodyPr/>
        <a:lstStyle/>
        <a:p>
          <a:r>
            <a:rPr lang="en-US" sz="2000" b="1" dirty="0"/>
            <a:t>Complex range: </a:t>
          </a:r>
          <a:r>
            <a:rPr lang="en-US" sz="2000" dirty="0"/>
            <a:t>ID &gt; 10 and ID &lt; 20 or ID &gt; 30 and &lt; 50</a:t>
          </a:r>
        </a:p>
      </dgm:t>
    </dgm:pt>
    <dgm:pt modelId="{1D0A2C0D-ADCD-45A3-AE3A-164C719F0922}" type="parTrans" cxnId="{06A7372E-6D04-4029-B30D-09E0C0497742}">
      <dgm:prSet/>
      <dgm:spPr/>
      <dgm:t>
        <a:bodyPr/>
        <a:lstStyle/>
        <a:p>
          <a:endParaRPr lang="en-US"/>
        </a:p>
      </dgm:t>
    </dgm:pt>
    <dgm:pt modelId="{2A337360-18E4-4101-9C2E-D9303CF8752A}" type="sibTrans" cxnId="{06A7372E-6D04-4029-B30D-09E0C0497742}">
      <dgm:prSet/>
      <dgm:spPr/>
      <dgm:t>
        <a:bodyPr/>
        <a:lstStyle/>
        <a:p>
          <a:endParaRPr lang="en-US"/>
        </a:p>
      </dgm:t>
    </dgm:pt>
    <dgm:pt modelId="{4D6F902A-E4D3-48AC-87E4-5E2A16685C7B}">
      <dgm:prSet custT="1"/>
      <dgm:spPr/>
      <dgm:t>
        <a:bodyPr/>
        <a:lstStyle/>
        <a:p>
          <a:r>
            <a:rPr lang="en-US" sz="2000" b="1" dirty="0"/>
            <a:t>Simplified range: </a:t>
          </a:r>
          <a:r>
            <a:rPr lang="en-US" sz="2000" dirty="0"/>
            <a:t>ID &gt; 10 and &lt; 50</a:t>
          </a:r>
        </a:p>
      </dgm:t>
    </dgm:pt>
    <dgm:pt modelId="{A63E84C0-9C6E-4EEE-AD57-58879E907ED7}" type="parTrans" cxnId="{D72C74F1-A0DC-4835-B2D5-8B2E31336AD3}">
      <dgm:prSet/>
      <dgm:spPr/>
      <dgm:t>
        <a:bodyPr/>
        <a:lstStyle/>
        <a:p>
          <a:endParaRPr lang="en-US"/>
        </a:p>
      </dgm:t>
    </dgm:pt>
    <dgm:pt modelId="{D260CFE3-4206-445A-8836-FE991D38A8D8}" type="sibTrans" cxnId="{D72C74F1-A0DC-4835-B2D5-8B2E31336AD3}">
      <dgm:prSet/>
      <dgm:spPr/>
      <dgm:t>
        <a:bodyPr/>
        <a:lstStyle/>
        <a:p>
          <a:endParaRPr lang="en-US"/>
        </a:p>
      </dgm:t>
    </dgm:pt>
    <dgm:pt modelId="{64D33930-0BC8-4AC5-8490-0AD3A9762C5D}">
      <dgm:prSet custT="1"/>
      <dgm:spPr/>
      <dgm:t>
        <a:bodyPr/>
        <a:lstStyle/>
        <a:p>
          <a:r>
            <a:rPr lang="en-US" sz="2000" dirty="0"/>
            <a:t>Join Simplification: Removes redundant joins that are not necessary</a:t>
          </a:r>
        </a:p>
      </dgm:t>
    </dgm:pt>
    <dgm:pt modelId="{02295F83-E2FD-4CBB-88E9-C60E51A42603}" type="parTrans" cxnId="{C22C03F9-38DF-4E17-9141-DED01C4464E8}">
      <dgm:prSet/>
      <dgm:spPr/>
      <dgm:t>
        <a:bodyPr/>
        <a:lstStyle/>
        <a:p>
          <a:endParaRPr lang="en-US"/>
        </a:p>
      </dgm:t>
    </dgm:pt>
    <dgm:pt modelId="{983B83DA-FC24-499B-9E2B-17CDA061C260}" type="sibTrans" cxnId="{C22C03F9-38DF-4E17-9141-DED01C4464E8}">
      <dgm:prSet/>
      <dgm:spPr/>
      <dgm:t>
        <a:bodyPr/>
        <a:lstStyle/>
        <a:p>
          <a:endParaRPr lang="en-US"/>
        </a:p>
      </dgm:t>
    </dgm:pt>
    <dgm:pt modelId="{B37C91EB-9FCC-4E01-B940-3E9D92484C6D}">
      <dgm:prSet custT="1"/>
      <dgm:spPr/>
      <dgm:t>
        <a:bodyPr/>
        <a:lstStyle/>
        <a:p>
          <a:r>
            <a:rPr lang="en-US" sz="2000" dirty="0"/>
            <a:t>Predicate Pushdown: Perform calculations only on rows returned</a:t>
          </a:r>
        </a:p>
      </dgm:t>
    </dgm:pt>
    <dgm:pt modelId="{4C4C1DED-94D8-4B02-B778-D16D6D798797}" type="parTrans" cxnId="{E1FAEFE8-26D0-42F5-99ED-63669657323C}">
      <dgm:prSet/>
      <dgm:spPr/>
      <dgm:t>
        <a:bodyPr/>
        <a:lstStyle/>
        <a:p>
          <a:endParaRPr lang="en-US"/>
        </a:p>
      </dgm:t>
    </dgm:pt>
    <dgm:pt modelId="{9323958A-F5EF-44B8-AF11-5E1B42105D70}" type="sibTrans" cxnId="{E1FAEFE8-26D0-42F5-99ED-63669657323C}">
      <dgm:prSet/>
      <dgm:spPr/>
      <dgm:t>
        <a:bodyPr/>
        <a:lstStyle/>
        <a:p>
          <a:endParaRPr lang="en-US"/>
        </a:p>
      </dgm:t>
    </dgm:pt>
    <dgm:pt modelId="{7D5199FE-9749-49EF-9B5C-676307B6D65D}" type="pres">
      <dgm:prSet presAssocID="{6540920B-2C4F-43B4-89AD-64EEC6019ED2}" presName="linear" presStyleCnt="0">
        <dgm:presLayoutVars>
          <dgm:animLvl val="lvl"/>
          <dgm:resizeHandles val="exact"/>
        </dgm:presLayoutVars>
      </dgm:prSet>
      <dgm:spPr/>
    </dgm:pt>
    <dgm:pt modelId="{D0B18191-AC71-49BF-98CD-1E93E2ABEF4C}" type="pres">
      <dgm:prSet presAssocID="{2946E55A-32BE-49E8-B556-ED036734050F}" presName="parentText" presStyleLbl="node1" presStyleIdx="0" presStyleCnt="5">
        <dgm:presLayoutVars>
          <dgm:chMax val="0"/>
          <dgm:bulletEnabled val="1"/>
        </dgm:presLayoutVars>
      </dgm:prSet>
      <dgm:spPr/>
    </dgm:pt>
    <dgm:pt modelId="{E7753C57-A5F5-46E1-B7BB-82581E003E85}" type="pres">
      <dgm:prSet presAssocID="{2946E55A-32BE-49E8-B556-ED036734050F}" presName="childText" presStyleLbl="revTx" presStyleIdx="0" presStyleCnt="3">
        <dgm:presLayoutVars>
          <dgm:bulletEnabled val="1"/>
        </dgm:presLayoutVars>
      </dgm:prSet>
      <dgm:spPr/>
    </dgm:pt>
    <dgm:pt modelId="{AD3DC3D7-B755-496C-B049-673782A48B7E}" type="pres">
      <dgm:prSet presAssocID="{76B3B042-5773-4AF0-A342-03BD63583AE1}" presName="parentText" presStyleLbl="node1" presStyleIdx="1" presStyleCnt="5">
        <dgm:presLayoutVars>
          <dgm:chMax val="0"/>
          <dgm:bulletEnabled val="1"/>
        </dgm:presLayoutVars>
      </dgm:prSet>
      <dgm:spPr/>
    </dgm:pt>
    <dgm:pt modelId="{F4979A52-6910-4680-A30D-AF6E5F6F6BEB}" type="pres">
      <dgm:prSet presAssocID="{76B3B042-5773-4AF0-A342-03BD63583AE1}" presName="childText" presStyleLbl="revTx" presStyleIdx="1" presStyleCnt="3">
        <dgm:presLayoutVars>
          <dgm:bulletEnabled val="1"/>
        </dgm:presLayoutVars>
      </dgm:prSet>
      <dgm:spPr/>
    </dgm:pt>
    <dgm:pt modelId="{00D08612-0E1E-47DC-8CA9-705E272E1D3D}" type="pres">
      <dgm:prSet presAssocID="{A9D25BD0-BE09-4345-BADE-D4F2B24CCE15}" presName="parentText" presStyleLbl="node1" presStyleIdx="2" presStyleCnt="5">
        <dgm:presLayoutVars>
          <dgm:chMax val="0"/>
          <dgm:bulletEnabled val="1"/>
        </dgm:presLayoutVars>
      </dgm:prSet>
      <dgm:spPr/>
    </dgm:pt>
    <dgm:pt modelId="{E0A24385-0B6B-4B50-BE74-56A56D95DC41}" type="pres">
      <dgm:prSet presAssocID="{A9D25BD0-BE09-4345-BADE-D4F2B24CCE15}" presName="childText" presStyleLbl="revTx" presStyleIdx="2" presStyleCnt="3">
        <dgm:presLayoutVars>
          <dgm:bulletEnabled val="1"/>
        </dgm:presLayoutVars>
      </dgm:prSet>
      <dgm:spPr/>
    </dgm:pt>
    <dgm:pt modelId="{4DCA75EA-7FE7-4098-A98C-5F17DD83CF52}" type="pres">
      <dgm:prSet presAssocID="{64D33930-0BC8-4AC5-8490-0AD3A9762C5D}" presName="parentText" presStyleLbl="node1" presStyleIdx="3" presStyleCnt="5">
        <dgm:presLayoutVars>
          <dgm:chMax val="0"/>
          <dgm:bulletEnabled val="1"/>
        </dgm:presLayoutVars>
      </dgm:prSet>
      <dgm:spPr/>
    </dgm:pt>
    <dgm:pt modelId="{756D783C-077A-40C8-8A99-2B58F0D50042}" type="pres">
      <dgm:prSet presAssocID="{983B83DA-FC24-499B-9E2B-17CDA061C260}" presName="spacer" presStyleCnt="0"/>
      <dgm:spPr/>
    </dgm:pt>
    <dgm:pt modelId="{4D843B81-431E-4829-9E03-521C00A76FD2}" type="pres">
      <dgm:prSet presAssocID="{B37C91EB-9FCC-4E01-B940-3E9D92484C6D}" presName="parentText" presStyleLbl="node1" presStyleIdx="4" presStyleCnt="5">
        <dgm:presLayoutVars>
          <dgm:chMax val="0"/>
          <dgm:bulletEnabled val="1"/>
        </dgm:presLayoutVars>
      </dgm:prSet>
      <dgm:spPr/>
    </dgm:pt>
  </dgm:ptLst>
  <dgm:cxnLst>
    <dgm:cxn modelId="{B8147200-7F1D-437F-8F7A-66B3B4272B3F}" type="presOf" srcId="{871DBBC0-5C02-42CD-9E80-91D0DE976C8E}" destId="{E7753C57-A5F5-46E1-B7BB-82581E003E85}" srcOrd="0" destOrd="1" presId="urn:microsoft.com/office/officeart/2005/8/layout/vList2"/>
    <dgm:cxn modelId="{7833CA04-16BB-46D1-8B5F-259F1602A19F}" srcId="{76B3B042-5773-4AF0-A342-03BD63583AE1}" destId="{637A78A2-5937-4FFB-9D4D-653846F4F401}" srcOrd="1" destOrd="0" parTransId="{326A3761-38CF-430A-823F-835DB6D9D681}" sibTransId="{D9BCB6D1-8F0A-4413-806C-CF398451F3E3}"/>
    <dgm:cxn modelId="{8F74EB13-1DC6-4730-BD88-3EFC93851120}" type="presOf" srcId="{6540920B-2C4F-43B4-89AD-64EEC6019ED2}" destId="{7D5199FE-9749-49EF-9B5C-676307B6D65D}" srcOrd="0" destOrd="0" presId="urn:microsoft.com/office/officeart/2005/8/layout/vList2"/>
    <dgm:cxn modelId="{B6B22C22-4C47-4ACC-927D-7868A0BE8D14}" srcId="{2946E55A-32BE-49E8-B556-ED036734050F}" destId="{3964F9BA-4FF7-40BE-8120-77511C7AF0BF}" srcOrd="0" destOrd="0" parTransId="{17F806FC-E47D-4C25-8BAA-12601E84478E}" sibTransId="{E6DECC28-ADCA-46D0-AB34-D401A8CAA11B}"/>
    <dgm:cxn modelId="{E4C4C425-C11C-4398-900F-D51AA5D17E08}" srcId="{6540920B-2C4F-43B4-89AD-64EEC6019ED2}" destId="{A9D25BD0-BE09-4345-BADE-D4F2B24CCE15}" srcOrd="2" destOrd="0" parTransId="{4DD442C8-D1CC-4724-974D-833E6852A84E}" sibTransId="{AEFA25C7-5D27-45F1-9593-A65F3B64ADB9}"/>
    <dgm:cxn modelId="{06A7372E-6D04-4029-B30D-09E0C0497742}" srcId="{A9D25BD0-BE09-4345-BADE-D4F2B24CCE15}" destId="{7F438570-B1D3-4200-A192-AF8BDAD44F69}" srcOrd="0" destOrd="0" parTransId="{1D0A2C0D-ADCD-45A3-AE3A-164C719F0922}" sibTransId="{2A337360-18E4-4101-9C2E-D9303CF8752A}"/>
    <dgm:cxn modelId="{EFE01564-6DB9-4BC6-8964-EFCEE4CE1F99}" type="presOf" srcId="{2946E55A-32BE-49E8-B556-ED036734050F}" destId="{D0B18191-AC71-49BF-98CD-1E93E2ABEF4C}" srcOrd="0" destOrd="0" presId="urn:microsoft.com/office/officeart/2005/8/layout/vList2"/>
    <dgm:cxn modelId="{A0584668-E5D7-46AA-99CE-52F59A921508}" srcId="{76B3B042-5773-4AF0-A342-03BD63583AE1}" destId="{076924B9-43A7-4A09-A0A0-51577E02992A}" srcOrd="0" destOrd="0" parTransId="{D89B5B6B-BBB9-4D9B-AF87-249D01D07956}" sibTransId="{6FDEDA38-CC46-422E-A22D-E692CF57B8D2}"/>
    <dgm:cxn modelId="{329B2D8D-9983-4F7F-804F-6A886C19DDA2}" srcId="{6540920B-2C4F-43B4-89AD-64EEC6019ED2}" destId="{2946E55A-32BE-49E8-B556-ED036734050F}" srcOrd="0" destOrd="0" parTransId="{EA755BDB-65F6-4BFF-8D2D-9EB7DD41FF8F}" sibTransId="{4FFCA6CC-1E83-4DF3-9B27-D7CDE4CD4CC7}"/>
    <dgm:cxn modelId="{AE339C98-3F15-457F-AD19-5CB2BE7C2032}" type="presOf" srcId="{76B3B042-5773-4AF0-A342-03BD63583AE1}" destId="{AD3DC3D7-B755-496C-B049-673782A48B7E}" srcOrd="0" destOrd="0" presId="urn:microsoft.com/office/officeart/2005/8/layout/vList2"/>
    <dgm:cxn modelId="{FA9230AE-4B66-45B8-9A78-382604010462}" type="presOf" srcId="{B37C91EB-9FCC-4E01-B940-3E9D92484C6D}" destId="{4D843B81-431E-4829-9E03-521C00A76FD2}" srcOrd="0" destOrd="0" presId="urn:microsoft.com/office/officeart/2005/8/layout/vList2"/>
    <dgm:cxn modelId="{BCEF1FBC-EEF5-4D17-B2FE-9F83530FC9D1}" type="presOf" srcId="{64D33930-0BC8-4AC5-8490-0AD3A9762C5D}" destId="{4DCA75EA-7FE7-4098-A98C-5F17DD83CF52}" srcOrd="0" destOrd="0" presId="urn:microsoft.com/office/officeart/2005/8/layout/vList2"/>
    <dgm:cxn modelId="{E76F66C9-3EA6-4F9F-93D5-EB51749100DC}" type="presOf" srcId="{A9D25BD0-BE09-4345-BADE-D4F2B24CCE15}" destId="{00D08612-0E1E-47DC-8CA9-705E272E1D3D}" srcOrd="0" destOrd="0" presId="urn:microsoft.com/office/officeart/2005/8/layout/vList2"/>
    <dgm:cxn modelId="{3E9D25D8-FB57-437E-B23C-56D4E25EAB69}" type="presOf" srcId="{7F438570-B1D3-4200-A192-AF8BDAD44F69}" destId="{E0A24385-0B6B-4B50-BE74-56A56D95DC41}" srcOrd="0" destOrd="0" presId="urn:microsoft.com/office/officeart/2005/8/layout/vList2"/>
    <dgm:cxn modelId="{BC5865D9-28E2-4855-A1F5-28EF2B6A834E}" srcId="{6540920B-2C4F-43B4-89AD-64EEC6019ED2}" destId="{76B3B042-5773-4AF0-A342-03BD63583AE1}" srcOrd="1" destOrd="0" parTransId="{A36F6669-AD87-46CE-9AB1-E58B8B67CE26}" sibTransId="{0EBFAFB6-67BA-4D31-A1F8-D53B5916C74B}"/>
    <dgm:cxn modelId="{0C7F89D9-9D00-4EDF-8BA7-A27752D7AD7E}" srcId="{2946E55A-32BE-49E8-B556-ED036734050F}" destId="{871DBBC0-5C02-42CD-9E80-91D0DE976C8E}" srcOrd="1" destOrd="0" parTransId="{5D1DF68D-ECF1-435B-B687-3E2A5E695C2C}" sibTransId="{AAABE9F4-B57C-45B3-BDFA-761691D68588}"/>
    <dgm:cxn modelId="{F29E8DDC-C4D3-49BF-B149-A63D6B5618F7}" type="presOf" srcId="{3964F9BA-4FF7-40BE-8120-77511C7AF0BF}" destId="{E7753C57-A5F5-46E1-B7BB-82581E003E85}" srcOrd="0" destOrd="0" presId="urn:microsoft.com/office/officeart/2005/8/layout/vList2"/>
    <dgm:cxn modelId="{32FF9AE1-0658-4361-BC86-C2723E3EA388}" type="presOf" srcId="{076924B9-43A7-4A09-A0A0-51577E02992A}" destId="{F4979A52-6910-4680-A30D-AF6E5F6F6BEB}" srcOrd="0" destOrd="0" presId="urn:microsoft.com/office/officeart/2005/8/layout/vList2"/>
    <dgm:cxn modelId="{886E43E6-E963-4A1C-848E-203D2D45C9ED}" type="presOf" srcId="{4D6F902A-E4D3-48AC-87E4-5E2A16685C7B}" destId="{E0A24385-0B6B-4B50-BE74-56A56D95DC41}" srcOrd="0" destOrd="1" presId="urn:microsoft.com/office/officeart/2005/8/layout/vList2"/>
    <dgm:cxn modelId="{E1FAEFE8-26D0-42F5-99ED-63669657323C}" srcId="{6540920B-2C4F-43B4-89AD-64EEC6019ED2}" destId="{B37C91EB-9FCC-4E01-B940-3E9D92484C6D}" srcOrd="4" destOrd="0" parTransId="{4C4C1DED-94D8-4B02-B778-D16D6D798797}" sibTransId="{9323958A-F5EF-44B8-AF11-5E1B42105D70}"/>
    <dgm:cxn modelId="{0C1162EB-B8D2-47CC-8CB9-79CE6BF681AC}" type="presOf" srcId="{637A78A2-5937-4FFB-9D4D-653846F4F401}" destId="{F4979A52-6910-4680-A30D-AF6E5F6F6BEB}" srcOrd="0" destOrd="1" presId="urn:microsoft.com/office/officeart/2005/8/layout/vList2"/>
    <dgm:cxn modelId="{D72C74F1-A0DC-4835-B2D5-8B2E31336AD3}" srcId="{A9D25BD0-BE09-4345-BADE-D4F2B24CCE15}" destId="{4D6F902A-E4D3-48AC-87E4-5E2A16685C7B}" srcOrd="1" destOrd="0" parTransId="{A63E84C0-9C6E-4EEE-AD57-58879E907ED7}" sibTransId="{D260CFE3-4206-445A-8836-FE991D38A8D8}"/>
    <dgm:cxn modelId="{C22C03F9-38DF-4E17-9141-DED01C4464E8}" srcId="{6540920B-2C4F-43B4-89AD-64EEC6019ED2}" destId="{64D33930-0BC8-4AC5-8490-0AD3A9762C5D}" srcOrd="3" destOrd="0" parTransId="{02295F83-E2FD-4CBB-88E9-C60E51A42603}" sibTransId="{983B83DA-FC24-499B-9E2B-17CDA061C260}"/>
    <dgm:cxn modelId="{437B8931-FEF9-492E-9EE0-108CB0EED03D}" type="presParOf" srcId="{7D5199FE-9749-49EF-9B5C-676307B6D65D}" destId="{D0B18191-AC71-49BF-98CD-1E93E2ABEF4C}" srcOrd="0" destOrd="0" presId="urn:microsoft.com/office/officeart/2005/8/layout/vList2"/>
    <dgm:cxn modelId="{6D1FAB75-3424-4530-A114-78F1624F22DE}" type="presParOf" srcId="{7D5199FE-9749-49EF-9B5C-676307B6D65D}" destId="{E7753C57-A5F5-46E1-B7BB-82581E003E85}" srcOrd="1" destOrd="0" presId="urn:microsoft.com/office/officeart/2005/8/layout/vList2"/>
    <dgm:cxn modelId="{542D38C8-8A30-421A-96D3-DA3DF50BE764}" type="presParOf" srcId="{7D5199FE-9749-49EF-9B5C-676307B6D65D}" destId="{AD3DC3D7-B755-496C-B049-673782A48B7E}" srcOrd="2" destOrd="0" presId="urn:microsoft.com/office/officeart/2005/8/layout/vList2"/>
    <dgm:cxn modelId="{C4F384B3-5A51-4B2D-81EB-E4BE1783D3AE}" type="presParOf" srcId="{7D5199FE-9749-49EF-9B5C-676307B6D65D}" destId="{F4979A52-6910-4680-A30D-AF6E5F6F6BEB}" srcOrd="3" destOrd="0" presId="urn:microsoft.com/office/officeart/2005/8/layout/vList2"/>
    <dgm:cxn modelId="{17F0E1BB-C9B1-461A-BAD5-E7864F675FBA}" type="presParOf" srcId="{7D5199FE-9749-49EF-9B5C-676307B6D65D}" destId="{00D08612-0E1E-47DC-8CA9-705E272E1D3D}" srcOrd="4" destOrd="0" presId="urn:microsoft.com/office/officeart/2005/8/layout/vList2"/>
    <dgm:cxn modelId="{6E1DBFE7-D3A4-40BE-9CF6-984A9A4E4982}" type="presParOf" srcId="{7D5199FE-9749-49EF-9B5C-676307B6D65D}" destId="{E0A24385-0B6B-4B50-BE74-56A56D95DC41}" srcOrd="5" destOrd="0" presId="urn:microsoft.com/office/officeart/2005/8/layout/vList2"/>
    <dgm:cxn modelId="{776BC91C-1274-45FE-A90A-B1C8993BDD8D}" type="presParOf" srcId="{7D5199FE-9749-49EF-9B5C-676307B6D65D}" destId="{4DCA75EA-7FE7-4098-A98C-5F17DD83CF52}" srcOrd="6" destOrd="0" presId="urn:microsoft.com/office/officeart/2005/8/layout/vList2"/>
    <dgm:cxn modelId="{3726E3F1-F73F-499F-B655-88D534EE202B}" type="presParOf" srcId="{7D5199FE-9749-49EF-9B5C-676307B6D65D}" destId="{756D783C-077A-40C8-8A99-2B58F0D50042}" srcOrd="7" destOrd="0" presId="urn:microsoft.com/office/officeart/2005/8/layout/vList2"/>
    <dgm:cxn modelId="{11460C99-2352-4777-9D6E-9729BEA45251}" type="presParOf" srcId="{7D5199FE-9749-49EF-9B5C-676307B6D65D}" destId="{4D843B81-431E-4829-9E03-521C00A76FD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2C154-C68A-43EC-8D95-63277D421833}">
      <dsp:nvSpPr>
        <dsp:cNvPr id="0" name=""/>
        <dsp:cNvSpPr/>
      </dsp:nvSpPr>
      <dsp:spPr>
        <a:xfrm>
          <a:off x="3063081" y="1492545"/>
          <a:ext cx="2167152" cy="376117"/>
        </a:xfrm>
        <a:custGeom>
          <a:avLst/>
          <a:gdLst/>
          <a:ahLst/>
          <a:cxnLst/>
          <a:rect l="0" t="0" r="0" b="0"/>
          <a:pathLst>
            <a:path>
              <a:moveTo>
                <a:pt x="0" y="0"/>
              </a:moveTo>
              <a:lnTo>
                <a:pt x="0" y="188058"/>
              </a:lnTo>
              <a:lnTo>
                <a:pt x="2167152" y="188058"/>
              </a:lnTo>
              <a:lnTo>
                <a:pt x="2167152" y="376117"/>
              </a:lnTo>
            </a:path>
          </a:pathLst>
        </a:custGeom>
        <a:noFill/>
        <a:ln w="25400" cap="flat" cmpd="sng" algn="ctr">
          <a:solidFill>
            <a:srgbClr val="0C612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7A7AE8A4-D57B-4FC0-BB20-18486A0B1EF2}">
      <dsp:nvSpPr>
        <dsp:cNvPr id="0" name=""/>
        <dsp:cNvSpPr/>
      </dsp:nvSpPr>
      <dsp:spPr>
        <a:xfrm>
          <a:off x="3017361" y="1492545"/>
          <a:ext cx="91440" cy="376117"/>
        </a:xfrm>
        <a:custGeom>
          <a:avLst/>
          <a:gdLst/>
          <a:ahLst/>
          <a:cxnLst/>
          <a:rect l="0" t="0" r="0" b="0"/>
          <a:pathLst>
            <a:path>
              <a:moveTo>
                <a:pt x="45720" y="0"/>
              </a:moveTo>
              <a:lnTo>
                <a:pt x="45720" y="376117"/>
              </a:lnTo>
            </a:path>
          </a:pathLst>
        </a:custGeom>
        <a:noFill/>
        <a:ln w="25400" cap="flat" cmpd="sng" algn="ctr">
          <a:solidFill>
            <a:srgbClr val="0C612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FA7E2455-E11D-41BF-A377-31974C3C9CFF}">
      <dsp:nvSpPr>
        <dsp:cNvPr id="0" name=""/>
        <dsp:cNvSpPr/>
      </dsp:nvSpPr>
      <dsp:spPr>
        <a:xfrm>
          <a:off x="895928" y="1492545"/>
          <a:ext cx="2167152" cy="376117"/>
        </a:xfrm>
        <a:custGeom>
          <a:avLst/>
          <a:gdLst/>
          <a:ahLst/>
          <a:cxnLst/>
          <a:rect l="0" t="0" r="0" b="0"/>
          <a:pathLst>
            <a:path>
              <a:moveTo>
                <a:pt x="2167152" y="0"/>
              </a:moveTo>
              <a:lnTo>
                <a:pt x="2167152" y="188058"/>
              </a:lnTo>
              <a:lnTo>
                <a:pt x="0" y="188058"/>
              </a:lnTo>
              <a:lnTo>
                <a:pt x="0" y="376117"/>
              </a:lnTo>
            </a:path>
          </a:pathLst>
        </a:custGeom>
        <a:noFill/>
        <a:ln w="25400" cap="flat" cmpd="sng" algn="ctr">
          <a:solidFill>
            <a:srgbClr val="0C612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24D229AC-5C13-45F1-A5D1-6AEA78085079}">
      <dsp:nvSpPr>
        <dsp:cNvPr id="0" name=""/>
        <dsp:cNvSpPr/>
      </dsp:nvSpPr>
      <dsp:spPr>
        <a:xfrm>
          <a:off x="2167563" y="597028"/>
          <a:ext cx="1791034" cy="895517"/>
        </a:xfrm>
        <a:prstGeom prst="rect">
          <a:avLst/>
        </a:prstGeo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597028"/>
        <a:ext cx="1791034" cy="895517"/>
      </dsp:txXfrm>
    </dsp:sp>
    <dsp:sp modelId="{B9F78752-7D17-4C5F-80DC-021D7028CDDA}">
      <dsp:nvSpPr>
        <dsp:cNvPr id="0" name=""/>
        <dsp:cNvSpPr/>
      </dsp:nvSpPr>
      <dsp:spPr>
        <a:xfrm>
          <a:off x="411"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2</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xy’</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Jorge</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11" y="1868663"/>
        <a:ext cx="1791034" cy="895517"/>
      </dsp:txXfrm>
    </dsp:sp>
    <dsp:sp modelId="{D9C63EA9-4D2D-40C4-A131-5A603665E439}">
      <dsp:nvSpPr>
        <dsp:cNvPr id="0" name=""/>
        <dsp:cNvSpPr/>
      </dsp:nvSpPr>
      <dsp:spPr>
        <a:xfrm>
          <a:off x="2167563"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Nabil</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1868663"/>
        <a:ext cx="1791034" cy="895517"/>
      </dsp:txXfrm>
    </dsp:sp>
    <dsp:sp modelId="{CDFF83E9-5A77-42A5-84AE-924C54B5E10B}">
      <dsp:nvSpPr>
        <dsp:cNvPr id="0" name=""/>
        <dsp:cNvSpPr/>
      </dsp:nvSpPr>
      <dsp:spPr>
        <a:xfrm>
          <a:off x="4334715"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1</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sd’</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Walter</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334715" y="1868663"/>
        <a:ext cx="1791034" cy="8955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42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U</a:t>
          </a:r>
          <a:r>
            <a:rPr lang="en-US" sz="2800" b="0" i="0" kern="1200" dirty="0"/>
            <a:t>ser permissions are checked.</a:t>
          </a:r>
          <a:endParaRPr lang="en-US" sz="2800" kern="1200" dirty="0"/>
        </a:p>
      </dsp:txBody>
      <dsp:txXfrm>
        <a:off x="42036" y="56321"/>
        <a:ext cx="10277102" cy="777048"/>
      </dsp:txXfrm>
    </dsp:sp>
    <dsp:sp modelId="{E0E1D3EC-81AB-4DDF-9698-FB3E21CBBA67}">
      <dsp:nvSpPr>
        <dsp:cNvPr id="0" name=""/>
        <dsp:cNvSpPr/>
      </dsp:nvSpPr>
      <dsp:spPr>
        <a:xfrm>
          <a:off x="0" y="10078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Does </a:t>
          </a:r>
          <a:r>
            <a:rPr lang="en-US" sz="2800" kern="1200" dirty="0"/>
            <a:t>a cached plan exist?</a:t>
          </a:r>
        </a:p>
      </dsp:txBody>
      <dsp:txXfrm>
        <a:off x="42036" y="1049921"/>
        <a:ext cx="10277102" cy="777048"/>
      </dsp:txXfrm>
    </dsp:sp>
    <dsp:sp modelId="{7857B639-65CC-486C-8EFD-A918198FC586}">
      <dsp:nvSpPr>
        <dsp:cNvPr id="0" name=""/>
        <dsp:cNvSpPr/>
      </dsp:nvSpPr>
      <dsp:spPr>
        <a:xfrm>
          <a:off x="0" y="20014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Object names (Tables, Views, Columns, etc.) to see if they exist. </a:t>
          </a:r>
          <a:endParaRPr lang="en-US" sz="2800" kern="1200" dirty="0"/>
        </a:p>
      </dsp:txBody>
      <dsp:txXfrm>
        <a:off x="42036" y="2043521"/>
        <a:ext cx="10277102" cy="777048"/>
      </dsp:txXfrm>
    </dsp:sp>
    <dsp:sp modelId="{524A67A9-B79C-4B23-9404-C87D61A30585}">
      <dsp:nvSpPr>
        <dsp:cNvPr id="0" name=""/>
        <dsp:cNvSpPr/>
      </dsp:nvSpPr>
      <dsp:spPr>
        <a:xfrm>
          <a:off x="0" y="29950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Resolve aliases of columns and tables</a:t>
          </a:r>
          <a:endParaRPr lang="en-US" sz="2800" kern="1200" dirty="0"/>
        </a:p>
      </dsp:txBody>
      <dsp:txXfrm>
        <a:off x="42036" y="3037122"/>
        <a:ext cx="10277102" cy="777048"/>
      </dsp:txXfrm>
    </dsp:sp>
    <dsp:sp modelId="{4542E025-F95B-427C-9891-4B9526118B82}">
      <dsp:nvSpPr>
        <dsp:cNvPr id="0" name=""/>
        <dsp:cNvSpPr/>
      </dsp:nvSpPr>
      <dsp:spPr>
        <a:xfrm>
          <a:off x="0" y="39886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a:t>
          </a:r>
          <a:r>
            <a:rPr lang="en-US" sz="2800" b="0" i="0" kern="1200" dirty="0"/>
            <a:t>ata types and if </a:t>
          </a:r>
          <a:r>
            <a:rPr lang="en-US" sz="2800" b="0" i="0" u="none" kern="1200" dirty="0"/>
            <a:t>implicit data type conversions are needed.</a:t>
          </a:r>
          <a:endParaRPr lang="en-US" sz="2800" b="0" u="none" kern="1200" dirty="0"/>
        </a:p>
      </dsp:txBody>
      <dsp:txXfrm>
        <a:off x="42036" y="4030722"/>
        <a:ext cx="10277102" cy="7770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18191-AC71-49BF-98CD-1E93E2ABEF4C}">
      <dsp:nvSpPr>
        <dsp:cNvPr id="0" name=""/>
        <dsp:cNvSpPr/>
      </dsp:nvSpPr>
      <dsp:spPr>
        <a:xfrm>
          <a:off x="0" y="5556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stant Folding: Expressions with constant values are reduced</a:t>
          </a:r>
        </a:p>
      </dsp:txBody>
      <dsp:txXfrm>
        <a:off x="29243" y="84805"/>
        <a:ext cx="11059279" cy="540554"/>
      </dsp:txXfrm>
    </dsp:sp>
    <dsp:sp modelId="{E7753C57-A5F5-46E1-B7BB-82581E003E85}">
      <dsp:nvSpPr>
        <dsp:cNvPr id="0" name=""/>
        <dsp:cNvSpPr/>
      </dsp:nvSpPr>
      <dsp:spPr>
        <a:xfrm>
          <a:off x="0" y="65460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Quantity = 2 + 3 </a:t>
          </a:r>
          <a:r>
            <a:rPr lang="en-US" sz="2000" kern="1200" dirty="0"/>
            <a:t>becomes </a:t>
          </a:r>
          <a:r>
            <a:rPr lang="en-US" sz="2000" b="1" kern="1200" dirty="0"/>
            <a:t>Quantity =  5</a:t>
          </a:r>
          <a:endParaRPr lang="en-US" sz="2000" kern="1200" dirty="0"/>
        </a:p>
        <a:p>
          <a:pPr marL="228600" lvl="1" indent="-228600" algn="l" defTabSz="889000">
            <a:lnSpc>
              <a:spcPct val="90000"/>
            </a:lnSpc>
            <a:spcBef>
              <a:spcPct val="0"/>
            </a:spcBef>
            <a:spcAft>
              <a:spcPct val="20000"/>
            </a:spcAft>
            <a:buChar char="•"/>
          </a:pPr>
          <a:r>
            <a:rPr lang="en-US" sz="2000" b="1" kern="1200" dirty="0"/>
            <a:t>1=1 </a:t>
          </a:r>
          <a:r>
            <a:rPr lang="en-US" sz="2000" kern="1200" dirty="0"/>
            <a:t>becomes </a:t>
          </a:r>
          <a:r>
            <a:rPr lang="en-US" sz="2000" b="1" kern="1200" dirty="0"/>
            <a:t>True </a:t>
          </a:r>
          <a:endParaRPr lang="en-US" sz="2000" kern="1200" dirty="0"/>
        </a:p>
      </dsp:txBody>
      <dsp:txXfrm>
        <a:off x="0" y="654602"/>
        <a:ext cx="11117765" cy="728640"/>
      </dsp:txXfrm>
    </dsp:sp>
    <dsp:sp modelId="{AD3DC3D7-B755-496C-B049-673782A48B7E}">
      <dsp:nvSpPr>
        <dsp:cNvPr id="0" name=""/>
        <dsp:cNvSpPr/>
      </dsp:nvSpPr>
      <dsp:spPr>
        <a:xfrm>
          <a:off x="0" y="138324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tradiction Detection: Removes criteria that doesn’t match table constraints</a:t>
          </a:r>
        </a:p>
      </dsp:txBody>
      <dsp:txXfrm>
        <a:off x="29243" y="1412485"/>
        <a:ext cx="11059279" cy="540554"/>
      </dsp:txXfrm>
    </dsp:sp>
    <dsp:sp modelId="{F4979A52-6910-4680-A30D-AF6E5F6F6BEB}">
      <dsp:nvSpPr>
        <dsp:cNvPr id="0" name=""/>
        <dsp:cNvSpPr/>
      </dsp:nvSpPr>
      <dsp:spPr>
        <a:xfrm>
          <a:off x="0" y="198228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nstraint: </a:t>
          </a:r>
          <a:r>
            <a:rPr lang="en-US" sz="2000" kern="1200" dirty="0"/>
            <a:t>Age &gt; 18</a:t>
          </a:r>
        </a:p>
        <a:p>
          <a:pPr marL="228600" lvl="1" indent="-228600" algn="l" defTabSz="889000">
            <a:lnSpc>
              <a:spcPct val="90000"/>
            </a:lnSpc>
            <a:spcBef>
              <a:spcPct val="0"/>
            </a:spcBef>
            <a:spcAft>
              <a:spcPct val="20000"/>
            </a:spcAft>
            <a:buChar char="•"/>
          </a:pPr>
          <a:r>
            <a:rPr lang="en-US" sz="2000" b="1" kern="1200" dirty="0"/>
            <a:t>Contradiction: </a:t>
          </a:r>
          <a:r>
            <a:rPr lang="en-US" sz="2000" kern="1200" dirty="0"/>
            <a:t>WHERE Age &lt; 18</a:t>
          </a:r>
        </a:p>
      </dsp:txBody>
      <dsp:txXfrm>
        <a:off x="0" y="1982282"/>
        <a:ext cx="11117765" cy="728640"/>
      </dsp:txXfrm>
    </dsp:sp>
    <dsp:sp modelId="{00D08612-0E1E-47DC-8CA9-705E272E1D3D}">
      <dsp:nvSpPr>
        <dsp:cNvPr id="0" name=""/>
        <dsp:cNvSpPr/>
      </dsp:nvSpPr>
      <dsp:spPr>
        <a:xfrm>
          <a:off x="0" y="271092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omain Simplification: Reduces complex ranges to simple ranges</a:t>
          </a:r>
        </a:p>
      </dsp:txBody>
      <dsp:txXfrm>
        <a:off x="29243" y="2740165"/>
        <a:ext cx="11059279" cy="540554"/>
      </dsp:txXfrm>
    </dsp:sp>
    <dsp:sp modelId="{E0A24385-0B6B-4B50-BE74-56A56D95DC41}">
      <dsp:nvSpPr>
        <dsp:cNvPr id="0" name=""/>
        <dsp:cNvSpPr/>
      </dsp:nvSpPr>
      <dsp:spPr>
        <a:xfrm>
          <a:off x="0" y="330996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mplex range: </a:t>
          </a:r>
          <a:r>
            <a:rPr lang="en-US" sz="2000" kern="1200" dirty="0"/>
            <a:t>ID &gt; 10 and ID &lt; 20 or ID &gt; 30 and &lt; 50</a:t>
          </a:r>
        </a:p>
        <a:p>
          <a:pPr marL="228600" lvl="1" indent="-228600" algn="l" defTabSz="889000">
            <a:lnSpc>
              <a:spcPct val="90000"/>
            </a:lnSpc>
            <a:spcBef>
              <a:spcPct val="0"/>
            </a:spcBef>
            <a:spcAft>
              <a:spcPct val="20000"/>
            </a:spcAft>
            <a:buChar char="•"/>
          </a:pPr>
          <a:r>
            <a:rPr lang="en-US" sz="2000" b="1" kern="1200" dirty="0"/>
            <a:t>Simplified range: </a:t>
          </a:r>
          <a:r>
            <a:rPr lang="en-US" sz="2000" kern="1200" dirty="0"/>
            <a:t>ID &gt; 10 and &lt; 50</a:t>
          </a:r>
        </a:p>
      </dsp:txBody>
      <dsp:txXfrm>
        <a:off x="0" y="3309962"/>
        <a:ext cx="11117765" cy="728640"/>
      </dsp:txXfrm>
    </dsp:sp>
    <dsp:sp modelId="{4DCA75EA-7FE7-4098-A98C-5F17DD83CF52}">
      <dsp:nvSpPr>
        <dsp:cNvPr id="0" name=""/>
        <dsp:cNvSpPr/>
      </dsp:nvSpPr>
      <dsp:spPr>
        <a:xfrm>
          <a:off x="0" y="40386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Join Simplification: Removes redundant joins that are not necessary</a:t>
          </a:r>
        </a:p>
      </dsp:txBody>
      <dsp:txXfrm>
        <a:off x="29243" y="4067845"/>
        <a:ext cx="11059279" cy="540554"/>
      </dsp:txXfrm>
    </dsp:sp>
    <dsp:sp modelId="{4D843B81-431E-4829-9E03-521C00A76FD2}">
      <dsp:nvSpPr>
        <dsp:cNvPr id="0" name=""/>
        <dsp:cNvSpPr/>
      </dsp:nvSpPr>
      <dsp:spPr>
        <a:xfrm>
          <a:off x="0" y="47298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redicate Pushdown: Perform calculations only on rows returned</a:t>
          </a:r>
        </a:p>
      </dsp:txBody>
      <dsp:txXfrm>
        <a:off x="29243" y="4759045"/>
        <a:ext cx="11059279" cy="54055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4/2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4/20/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Segoe UI" panose="020B0502040204020203" pitchFamily="34" charset="0"/>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547738" rtl="0" eaLnBrk="1" fontAlgn="auto" latinLnBrk="0" hangingPunct="1">
              <a:lnSpc>
                <a:spcPct val="100000"/>
              </a:lnSpc>
              <a:spcBef>
                <a:spcPts val="0"/>
              </a:spcBef>
              <a:spcAft>
                <a:spcPts val="0"/>
              </a:spcAft>
              <a:buClrTx/>
              <a:buSzTx/>
              <a:buFontTx/>
              <a:buNone/>
              <a:tabLst/>
              <a:defRPr/>
            </a:pPr>
            <a:fld id="{AF7A91F6-C84C-D54B-9DE1-2A2DF49EE04F}" type="slidenum">
              <a:rPr kumimoji="0" lang="en-US" sz="19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547738" rtl="0" eaLnBrk="1" fontAlgn="auto" latinLnBrk="0" hangingPunct="1">
                <a:lnSpc>
                  <a:spcPct val="100000"/>
                </a:lnSpc>
                <a:spcBef>
                  <a:spcPts val="0"/>
                </a:spcBef>
                <a:spcAft>
                  <a:spcPts val="0"/>
                </a:spcAft>
                <a:buClrTx/>
                <a:buSzTx/>
                <a:buFontTx/>
                <a:buNone/>
                <a:tabLst/>
                <a:defRPr/>
              </a:pPr>
              <a:t>4</a:t>
            </a:fld>
            <a:endParaRPr kumimoji="0" lang="en-US" sz="1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Slide Image Placeholder 5"/>
          <p:cNvSpPr>
            <a:spLocks noGrp="1" noRot="1" noChangeAspect="1"/>
          </p:cNvSpPr>
          <p:nvPr>
            <p:ph type="sldImg"/>
          </p:nvPr>
        </p:nvSpPr>
        <p:spPr>
          <a:xfrm>
            <a:off x="960438" y="2468563"/>
            <a:ext cx="7680325" cy="4321175"/>
          </a:xfrm>
        </p:spPr>
      </p:sp>
      <p:sp>
        <p:nvSpPr>
          <p:cNvPr id="7" name="Notes Placeholder 6"/>
          <p:cNvSpPr>
            <a:spLocks noGrp="1"/>
          </p:cNvSpPr>
          <p:nvPr>
            <p:ph type="body" idx="1"/>
          </p:nvPr>
        </p:nvSpPr>
        <p:spPr>
          <a:xfrm>
            <a:off x="960120" y="7166610"/>
            <a:ext cx="7680960" cy="6789420"/>
          </a:xfrm>
          <a:prstGeom prst="rect">
            <a:avLst/>
          </a:prstGeom>
        </p:spPr>
        <p:txBody>
          <a:bodyPr/>
          <a:lstStyle/>
          <a:p>
            <a:endParaRPr lang="en-US" dirty="0"/>
          </a:p>
        </p:txBody>
      </p:sp>
    </p:spTree>
    <p:extLst>
      <p:ext uri="{BB962C8B-B14F-4D97-AF65-F5344CB8AC3E}">
        <p14:creationId xmlns:p14="http://schemas.microsoft.com/office/powerpoint/2010/main" val="3694035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5</a:t>
            </a:fld>
            <a:endParaRPr lang="en-US" dirty="0"/>
          </a:p>
        </p:txBody>
      </p:sp>
    </p:spTree>
    <p:extLst>
      <p:ext uri="{BB962C8B-B14F-4D97-AF65-F5344CB8AC3E}">
        <p14:creationId xmlns:p14="http://schemas.microsoft.com/office/powerpoint/2010/main" val="2932954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6</a:t>
            </a:fld>
            <a:endParaRPr lang="en-US" dirty="0"/>
          </a:p>
        </p:txBody>
      </p:sp>
    </p:spTree>
    <p:extLst>
      <p:ext uri="{BB962C8B-B14F-4D97-AF65-F5344CB8AC3E}">
        <p14:creationId xmlns:p14="http://schemas.microsoft.com/office/powerpoint/2010/main" val="4082293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7</a:t>
            </a:fld>
            <a:endParaRPr lang="en-US" dirty="0"/>
          </a:p>
        </p:txBody>
      </p:sp>
    </p:spTree>
    <p:extLst>
      <p:ext uri="{BB962C8B-B14F-4D97-AF65-F5344CB8AC3E}">
        <p14:creationId xmlns:p14="http://schemas.microsoft.com/office/powerpoint/2010/main" val="3708365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8</a:t>
            </a:fld>
            <a:endParaRPr lang="en-US" dirty="0"/>
          </a:p>
        </p:txBody>
      </p:sp>
    </p:spTree>
    <p:extLst>
      <p:ext uri="{BB962C8B-B14F-4D97-AF65-F5344CB8AC3E}">
        <p14:creationId xmlns:p14="http://schemas.microsoft.com/office/powerpoint/2010/main" val="869665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9</a:t>
            </a:fld>
            <a:endParaRPr lang="en-US" dirty="0"/>
          </a:p>
        </p:txBody>
      </p:sp>
    </p:spTree>
    <p:extLst>
      <p:ext uri="{BB962C8B-B14F-4D97-AF65-F5344CB8AC3E}">
        <p14:creationId xmlns:p14="http://schemas.microsoft.com/office/powerpoint/2010/main" val="1905814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0</a:t>
            </a:fld>
            <a:endParaRPr lang="en-US" dirty="0"/>
          </a:p>
        </p:txBody>
      </p:sp>
    </p:spTree>
    <p:extLst>
      <p:ext uri="{BB962C8B-B14F-4D97-AF65-F5344CB8AC3E}">
        <p14:creationId xmlns:p14="http://schemas.microsoft.com/office/powerpoint/2010/main" val="2380731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1</a:t>
            </a:fld>
            <a:endParaRPr lang="en-US" dirty="0"/>
          </a:p>
        </p:txBody>
      </p:sp>
    </p:spTree>
    <p:extLst>
      <p:ext uri="{BB962C8B-B14F-4D97-AF65-F5344CB8AC3E}">
        <p14:creationId xmlns:p14="http://schemas.microsoft.com/office/powerpoint/2010/main" val="3615280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4416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568245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2B59A-D4A1-BD5A-8AD9-9B1A38AACBD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388DBB-6883-CC29-AF9E-CBB1EF15CAE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0CAA4D-CD50-8F77-DB74-35CBB0F9605E}"/>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C181B453-93D0-0FF2-20D1-F11BCAC8B1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2176E9-6EE3-0985-321E-AA57DC4956D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0442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D3021-9FF4-AC19-08A4-63A8BD4774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8CA24D-5F89-A078-55D4-5FD5C942172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773095-67DB-653E-067B-1EF320FF76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92376F-095A-11DE-19D4-6939268D34A3}"/>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6" name="Footer Placeholder 5">
            <a:extLst>
              <a:ext uri="{FF2B5EF4-FFF2-40B4-BE49-F238E27FC236}">
                <a16:creationId xmlns:a16="http://schemas.microsoft.com/office/drawing/2014/main" id="{8E126F86-863A-FD20-D949-B5ADC303C1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D5222-A8B9-FFC0-D133-D5CF6431AB2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6278932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EDF2E-0D12-765A-636C-FA8BC5B089D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D9A8A6-04F7-8BB2-D871-A8888A30C52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730D1C-B4E9-DA2B-CA9F-99C720CC968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D03DE9F-9302-B292-0125-4F91CAB6E6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81D55B1-98FB-CB56-97FF-DAF74B3401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9E5B0AC-A702-378D-ABD0-5F10499C483E}"/>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8" name="Footer Placeholder 7">
            <a:extLst>
              <a:ext uri="{FF2B5EF4-FFF2-40B4-BE49-F238E27FC236}">
                <a16:creationId xmlns:a16="http://schemas.microsoft.com/office/drawing/2014/main" id="{68A8C7D8-5BAF-A2AA-1979-86C59CEC32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88E117-3BA5-01AA-2612-FCC040EB807A}"/>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7402707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1CB18-991E-5A34-EEEB-8091EF535E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CC69BA-2F7F-39BF-7107-0010241222CA}"/>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4" name="Footer Placeholder 3">
            <a:extLst>
              <a:ext uri="{FF2B5EF4-FFF2-40B4-BE49-F238E27FC236}">
                <a16:creationId xmlns:a16="http://schemas.microsoft.com/office/drawing/2014/main" id="{F496152D-BDED-EA3E-3FE9-4D1A92260A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59DC46-08E2-00D6-8D57-33ED763AA42C}"/>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8327565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757E89-C87E-9441-992B-3B7757995F16}"/>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3" name="Footer Placeholder 2">
            <a:extLst>
              <a:ext uri="{FF2B5EF4-FFF2-40B4-BE49-F238E27FC236}">
                <a16:creationId xmlns:a16="http://schemas.microsoft.com/office/drawing/2014/main" id="{6C22BAE7-C601-045C-58BC-12CC8CB1DF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1CCC4F-8B69-B3F5-DE2B-39E940B8F04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175640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78A81-AC4B-9AD8-D4C6-AC0D5B6AF9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5A8BE0-C644-40AB-72D5-4FED57B30FB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49F053-0518-9901-F1B2-1D6F75FE41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0ACDC4-43B5-ADE4-CB53-B24626E08EE9}"/>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6" name="Footer Placeholder 5">
            <a:extLst>
              <a:ext uri="{FF2B5EF4-FFF2-40B4-BE49-F238E27FC236}">
                <a16:creationId xmlns:a16="http://schemas.microsoft.com/office/drawing/2014/main" id="{413E67A5-8F8B-9C6F-CBDA-AD793539BE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A37AB-7626-69D1-894B-F078FE0D148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340994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9EF8-B50E-FB65-F46A-C6A0D39ECC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3978D5-74D4-BE9E-18E0-889B9FB157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6BF265-38F7-C43E-E016-0B313F33AC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7EEBB1-D54A-CAE8-AB3E-F120C4DA187E}"/>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6" name="Footer Placeholder 5">
            <a:extLst>
              <a:ext uri="{FF2B5EF4-FFF2-40B4-BE49-F238E27FC236}">
                <a16:creationId xmlns:a16="http://schemas.microsoft.com/office/drawing/2014/main" id="{B3D357F9-A40B-C169-F7B3-EABC977EBF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6AD10C-9594-7E4F-1A54-4F99C7455088}"/>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9939393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DA641-ACF4-2FF1-91C4-10EA7EC2D9B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459DA5-F56C-48BB-3138-552FFD79B7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36064D-A1C0-98BC-78C9-A118175D308D}"/>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090333EF-6E1C-2407-EFD9-7A19C77129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46D06-BD5A-3631-673C-13339380356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3010930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94DA99-105E-3535-C375-05E409636D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3B36C61-7ED7-CE45-A71F-A0DBEBFD7D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BE50D-AA6B-0D34-3230-744C4D872C5F}"/>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7224EA86-4568-BC86-160B-CCE0C0068E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F578F6-29B8-5DF1-F54F-B26249E39089}"/>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0341999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
        <p:nvSpPr>
          <p:cNvPr id="2" name="Title 1">
            <a:extLst>
              <a:ext uri="{FF2B5EF4-FFF2-40B4-BE49-F238E27FC236}">
                <a16:creationId xmlns:a16="http://schemas.microsoft.com/office/drawing/2014/main" id="{B756B002-7056-BD4B-BA94-F2C943865D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315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7415317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4383589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803275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7443712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1676742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42889320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282265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74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6044757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1930213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366BF82-B091-F34D-A4A8-53D1C91BEF0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15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0885066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93D0022-22D0-5247-90AC-07BB78D06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72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0914543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8522913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1528453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664166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61240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4115529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200006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2750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681336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0433031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56364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710011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4B1B2680-2723-4D41-878F-BC673A506EA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7143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172067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540323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047638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2" name="Title 1">
            <a:extLst>
              <a:ext uri="{FF2B5EF4-FFF2-40B4-BE49-F238E27FC236}">
                <a16:creationId xmlns:a16="http://schemas.microsoft.com/office/drawing/2014/main" id="{0232C5C0-B11E-2A45-8CD7-339D9250CE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6417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837B59BD-4CB1-1241-BEED-64DB13EC2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4876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340597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833699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1548460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599273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704110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0162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2934611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126420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34830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Only (Custom)">
    <p:bg>
      <p:bgPr>
        <a:solidFill>
          <a:schemeClr val="tx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pPr defTabSz="914004"/>
            <a:fld id="{17060D3C-4028-8F45-B941-6DAA70ECC4AB}" type="datetime1">
              <a:rPr lang="en-US" smtClean="0">
                <a:solidFill>
                  <a:srgbClr val="000000">
                    <a:lumMod val="75000"/>
                    <a:lumOff val="25000"/>
                  </a:srgbClr>
                </a:solidFill>
              </a:rPr>
              <a:pPr defTabSz="914004"/>
              <a:t>4/20/2024</a:t>
            </a:fld>
            <a:endParaRPr lang="en-US">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914004"/>
            <a:fld id="{74A398B2-5A34-1A4A-811E-F4027282568C}" type="slidenum">
              <a:rPr lang="en-US" smtClean="0">
                <a:solidFill>
                  <a:srgbClr val="000000">
                    <a:lumMod val="75000"/>
                    <a:lumOff val="25000"/>
                  </a:srgbClr>
                </a:solidFill>
              </a:rPr>
              <a:pPr defTabSz="914004"/>
              <a:t>‹#›</a:t>
            </a:fld>
            <a:endParaRPr lang="en-US">
              <a:solidFill>
                <a:srgbClr val="000000">
                  <a:lumMod val="75000"/>
                  <a:lumOff val="25000"/>
                </a:srgbClr>
              </a:solidFill>
            </a:endParaRPr>
          </a:p>
        </p:txBody>
      </p:sp>
      <p:sp>
        <p:nvSpPr>
          <p:cNvPr id="11" name="Title Placeholder 1"/>
          <p:cNvSpPr>
            <a:spLocks noGrp="1"/>
          </p:cNvSpPr>
          <p:nvPr>
            <p:ph type="title" hasCustomPrompt="1"/>
          </p:nvPr>
        </p:nvSpPr>
        <p:spPr>
          <a:xfrm>
            <a:off x="304800" y="228600"/>
            <a:ext cx="11582401" cy="640080"/>
          </a:xfrm>
          <a:prstGeom prst="rect">
            <a:avLst/>
          </a:prstGeom>
        </p:spPr>
        <p:txBody>
          <a:bodyPr vert="horz" lIns="0" tIns="45720" rIns="0" bIns="45720" rtlCol="0" anchor="b" anchorCtr="0">
            <a:noAutofit/>
          </a:bodyPr>
          <a:lstStyle>
            <a:lvl1pPr>
              <a:defRPr lang="en-US" sz="3199" dirty="0">
                <a:solidFill>
                  <a:schemeClr val="bg1">
                    <a:lumMod val="75000"/>
                    <a:lumOff val="25000"/>
                  </a:schemeClr>
                </a:solidFill>
                <a:latin typeface="Segoe UI Light" pitchFamily="34" charset="0"/>
              </a:defRPr>
            </a:lvl1pPr>
          </a:lstStyle>
          <a:p>
            <a:pPr lvl="0"/>
            <a:r>
              <a:rPr lang="en-US"/>
              <a:t>Click To Edit Master Title Style</a:t>
            </a:r>
          </a:p>
        </p:txBody>
      </p:sp>
    </p:spTree>
    <p:extLst>
      <p:ext uri="{BB962C8B-B14F-4D97-AF65-F5344CB8AC3E}">
        <p14:creationId xmlns:p14="http://schemas.microsoft.com/office/powerpoint/2010/main" val="21978354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9" y="1219200"/>
            <a:ext cx="7922992" cy="4876800"/>
          </a:xfrm>
          <a:prstGeom prst="rect">
            <a:avLst/>
          </a:prstGeom>
        </p:spPr>
        <p:txBody>
          <a:bodyPr vert="horz" lIns="91440" tIns="45720">
            <a:normAutofit/>
          </a:bodyPr>
          <a:lstStyle>
            <a:lvl1pPr marL="0" indent="0">
              <a:spcBef>
                <a:spcPts val="800"/>
              </a:spcBef>
              <a:buFontTx/>
              <a:buNone/>
              <a:tabLst>
                <a:tab pos="839946" algn="l"/>
              </a:tabLst>
              <a:defRPr sz="2665" baseline="0">
                <a:solidFill>
                  <a:schemeClr val="bg1">
                    <a:lumMod val="75000"/>
                    <a:lumOff val="25000"/>
                  </a:schemeClr>
                </a:solidFill>
                <a:latin typeface="+mn-lt"/>
                <a:cs typeface="Segoe UI Light"/>
              </a:defRPr>
            </a:lvl1pPr>
            <a:lvl2pPr marL="0" indent="0">
              <a:spcBef>
                <a:spcPts val="800"/>
              </a:spcBef>
              <a:buFontTx/>
              <a:buNone/>
              <a:defRPr sz="3999">
                <a:latin typeface="Segoe Pro Light"/>
                <a:cs typeface="Segoe Pro Light"/>
              </a:defRPr>
            </a:lvl2pPr>
            <a:lvl3pPr marL="0" indent="0">
              <a:spcBef>
                <a:spcPts val="800"/>
              </a:spcBef>
              <a:buFontTx/>
              <a:buNone/>
              <a:defRPr sz="3999">
                <a:latin typeface="Segoe Pro Light"/>
                <a:cs typeface="Segoe Pro Light"/>
              </a:defRPr>
            </a:lvl3pPr>
            <a:lvl4pPr marL="0" indent="0">
              <a:spcBef>
                <a:spcPts val="800"/>
              </a:spcBef>
              <a:buFontTx/>
              <a:buNone/>
              <a:defRPr sz="3999">
                <a:latin typeface="Segoe Pro Light"/>
                <a:cs typeface="Segoe Pro Light"/>
              </a:defRPr>
            </a:lvl4pPr>
            <a:lvl5pPr marL="0" indent="0">
              <a:spcBef>
                <a:spcPts val="800"/>
              </a:spcBef>
              <a:buFontTx/>
              <a:buNone/>
              <a:defRPr sz="3999">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1" y="1219200"/>
            <a:ext cx="2438400" cy="439452"/>
          </a:xfrm>
          <a:prstGeom prst="rect">
            <a:avLst/>
          </a:prstGeom>
          <a:noFill/>
        </p:spPr>
        <p:txBody>
          <a:bodyPr vert="horz"/>
          <a:lstStyle>
            <a:lvl1pPr marL="0" indent="0">
              <a:spcBef>
                <a:spcPts val="800"/>
              </a:spcBef>
              <a:buFontTx/>
              <a:buNone/>
              <a:defRPr sz="1866" baseline="0">
                <a:solidFill>
                  <a:schemeClr val="bg1"/>
                </a:solidFill>
                <a:latin typeface="+mn-lt"/>
                <a:cs typeface="Segoe UI Semibold"/>
              </a:defRPr>
            </a:lvl1pPr>
          </a:lstStyle>
          <a:p>
            <a:pPr lvl="0"/>
            <a:r>
              <a:rPr lang="en-US"/>
              <a:t>Enter header here.</a:t>
            </a:r>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6" kern="800">
                <a:solidFill>
                  <a:srgbClr val="3F3F3F"/>
                </a:solidFill>
                <a:latin typeface="+mn-lt"/>
                <a:cs typeface="Segoe UI Ligh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4775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5609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0212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45960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912040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tx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1" y="680536"/>
            <a:ext cx="12206593" cy="3642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6" y="738715"/>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5" y="253009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834461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Tree>
    <p:extLst>
      <p:ext uri="{BB962C8B-B14F-4D97-AF65-F5344CB8AC3E}">
        <p14:creationId xmlns:p14="http://schemas.microsoft.com/office/powerpoint/2010/main" val="1377933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1506221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descr="A group of people looking at a computer&#10;">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
        <p:nvSpPr>
          <p:cNvPr id="2" name="Title 1">
            <a:extLst>
              <a:ext uri="{FF2B5EF4-FFF2-40B4-BE49-F238E27FC236}">
                <a16:creationId xmlns:a16="http://schemas.microsoft.com/office/drawing/2014/main" id="{A5CB4BB4-E8BC-B14A-906F-A967A7DF0A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800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738440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2737172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6961411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3E8133F-2D36-204B-B33B-3949C13EEF8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37605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099929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15516224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58832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639799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899112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796856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5173699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879017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4603415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4248916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2" name="Title 1">
            <a:extLst>
              <a:ext uri="{FF2B5EF4-FFF2-40B4-BE49-F238E27FC236}">
                <a16:creationId xmlns:a16="http://schemas.microsoft.com/office/drawing/2014/main" id="{90318946-AB72-D74E-8CF9-10D06F3810D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757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323355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2" name="Title 1">
            <a:extLst>
              <a:ext uri="{FF2B5EF4-FFF2-40B4-BE49-F238E27FC236}">
                <a16:creationId xmlns:a16="http://schemas.microsoft.com/office/drawing/2014/main" id="{283FA5B6-B2D2-6343-B2A6-864C40ED95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2175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900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97616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267294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809041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742243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CF173DB2-1BF4-6447-9450-501EBC05845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608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018051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202679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2077471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146984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1CC07485-C684-0E4E-A54D-3D15C3CBDC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0967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07205284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960126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824512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071415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33902703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757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3335604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606913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5957778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59121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5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7882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78194137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04859-CA3B-42FE-AD22-0062F80F35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30A1F5-3482-4F29-971C-6A2ED7F6B85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65050C-DAD3-401F-994B-CFF02AFE595E}"/>
              </a:ext>
            </a:extLst>
          </p:cNvPr>
          <p:cNvSpPr>
            <a:spLocks noGrp="1"/>
          </p:cNvSpPr>
          <p:nvPr>
            <p:ph type="dt" sz="half" idx="10"/>
          </p:nvPr>
        </p:nvSpPr>
        <p:spPr/>
        <p:txBody>
          <a:bodyPr/>
          <a:lstStyle/>
          <a:p>
            <a:fld id="{A259FE32-25C7-4EE2-9CF6-245F4EAE085A}" type="datetimeFigureOut">
              <a:rPr lang="en-US" smtClean="0"/>
              <a:t>4/20/2024</a:t>
            </a:fld>
            <a:endParaRPr lang="en-US"/>
          </a:p>
        </p:txBody>
      </p:sp>
      <p:sp>
        <p:nvSpPr>
          <p:cNvPr id="5" name="Footer Placeholder 4">
            <a:extLst>
              <a:ext uri="{FF2B5EF4-FFF2-40B4-BE49-F238E27FC236}">
                <a16:creationId xmlns:a16="http://schemas.microsoft.com/office/drawing/2014/main" id="{65E346B7-62DD-4BF9-87E0-5866DC76BE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2DAD9-E9FE-4F44-940B-4EE91E1804DD}"/>
              </a:ext>
            </a:extLst>
          </p:cNvPr>
          <p:cNvSpPr>
            <a:spLocks noGrp="1"/>
          </p:cNvSpPr>
          <p:nvPr>
            <p:ph type="sldNum" sz="quarter" idx="12"/>
          </p:nvPr>
        </p:nvSpPr>
        <p:spPr/>
        <p:txBody>
          <a:bodyPr/>
          <a:lstStyle/>
          <a:p>
            <a:fld id="{E81F2588-9782-48CF-8C2E-AA5A9651C15F}" type="slidenum">
              <a:rPr lang="en-US" smtClean="0"/>
              <a:t>‹#›</a:t>
            </a:fld>
            <a:endParaRPr lang="en-US"/>
          </a:p>
        </p:txBody>
      </p:sp>
    </p:spTree>
    <p:extLst>
      <p:ext uri="{BB962C8B-B14F-4D97-AF65-F5344CB8AC3E}">
        <p14:creationId xmlns:p14="http://schemas.microsoft.com/office/powerpoint/2010/main" val="267598562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170129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9A3DC8D4-9F48-A860-FF38-91A723410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09606271"/>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085681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14989879"/>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092734725"/>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5924632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45660168"/>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4714511"/>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08575842"/>
      </p:ext>
    </p:extLst>
  </p:cSld>
  <p:clrMapOvr>
    <a:masterClrMapping/>
  </p:clrMapOvr>
  <p:hf sldNum="0" hdr="0" ftr="0" dt="0"/>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extLst>
              <a:ext uri="{BEBA8EAE-BF5A-486C-A8C5-ECC9F3942E4B}">
                <a14:imgProps xmlns:a14="http://schemas.microsoft.com/office/drawing/2010/main">
                  <a14:imgLayer r:embed="rId3">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2752498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215684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16233118"/>
      </p:ext>
    </p:extLst>
  </p:cSld>
  <p:clrMapOvr>
    <a:masterClrMapping/>
  </p:clrMapOvr>
  <p:hf sldNum="0" hdr="0" ftr="0" dt="0"/>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2196233"/>
      </p:ext>
    </p:extLst>
  </p:cSld>
  <p:clrMapOvr>
    <a:masterClrMapping/>
  </p:clrMapOvr>
  <p:hf sldNum="0" hdr="0" ftr="0" dt="0"/>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15A8AC4-0523-73F3-DCB7-CD2C236F3D7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067740"/>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5527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6395352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54262639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928741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83462827"/>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5492635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721496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6459112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5867193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52118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970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1332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284155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654174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9975207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89734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3345888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10068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5727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769632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471263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389245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905252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8900395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96532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8267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61425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183888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6187346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4452565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7050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17663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264857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709890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7953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01000740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3975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656327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5372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53014404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140487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8394980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976751266"/>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17371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8357958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486874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3836739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8813892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0823950"/>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79200673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33291354"/>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15382357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3047118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866597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748036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0630192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3946597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521066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96391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465353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51305582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64483941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302685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6671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058074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9541787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53327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61617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130769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8391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978275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58291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350744066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256567574"/>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830315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4/20/2024</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1800940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615908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31173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57514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391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43817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7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721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29259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52065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53B1-C7A5-E9D6-0CFF-A2D9C2AB28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42D20C4-D9A8-1EF3-812A-54DFE39EC1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A3B0CF-3AB8-C972-F34F-D1D488E19F2E}"/>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EA1C5DE2-4578-C44C-9C05-AC41F053D7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0034FA-B7F3-FB0D-178F-5D3C6CE3E474}"/>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787975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C6893-B400-C9CE-FF45-698F5907B8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61A794-61C5-F6FF-DF43-4B8C4D14C4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B1CD4-C55A-A93F-608C-ED163980CAD2}"/>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9BD14177-40C0-2C2F-DEBD-1BBE592B5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309755-3E91-F157-E78D-B3F91A96854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6393645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tags" Target="../tags/tag2.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theme" Target="../theme/theme2.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image" Target="../media/image2.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tags" Target="../tags/tag3.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tags" Target="../tags/tag1.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3.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image" Target="../media/image6.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image" Target="../media/image5.emf"/><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theme" Target="../theme/theme5.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slideLayout" Target="../slideLayouts/slideLayout189.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42" Type="http://schemas.openxmlformats.org/officeDocument/2006/relationships/theme" Target="../theme/theme6.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41" Type="http://schemas.openxmlformats.org/officeDocument/2006/relationships/slideLayout" Target="../slideLayouts/slideLayout191.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8" Type="http://schemas.openxmlformats.org/officeDocument/2006/relationships/slideLayout" Target="../slideLayouts/slideLayout158.xml"/><Relationship Id="rId3" Type="http://schemas.openxmlformats.org/officeDocument/2006/relationships/slideLayout" Target="../slideLayouts/slideLayout153.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theme" Target="../theme/theme7.xml"/><Relationship Id="rId18" Type="http://schemas.openxmlformats.org/officeDocument/2006/relationships/tags" Target="../tags/tag8.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tags" Target="../tags/tag7.xml"/><Relationship Id="rId2" Type="http://schemas.openxmlformats.org/officeDocument/2006/relationships/slideLayout" Target="../slideLayouts/slideLayout193.xml"/><Relationship Id="rId16" Type="http://schemas.openxmlformats.org/officeDocument/2006/relationships/tags" Target="../tags/tag6.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tags" Target="../tags/tag5.xml"/><Relationship Id="rId10" Type="http://schemas.openxmlformats.org/officeDocument/2006/relationships/slideLayout" Target="../slideLayouts/slideLayout201.xml"/><Relationship Id="rId19" Type="http://schemas.openxmlformats.org/officeDocument/2006/relationships/image" Target="../media/image2.emf"/><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extLst>
              <a:ext uri="{BEBA8EAE-BF5A-486C-A8C5-ECC9F3942E4B}">
                <a14:imgProps xmlns:a14="http://schemas.microsoft.com/office/drawing/2010/main">
                  <a14:imgLayer r:embed="rId7">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SQL Server Query Optimization</a:t>
            </a: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20" r:id="rId1"/>
    <p:sldLayoutId id="2147483734" r:id="rId2"/>
    <p:sldLayoutId id="2147483735" r:id="rId3"/>
    <p:sldLayoutId id="2147483912" r:id="rId4"/>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9916096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87819444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 id="2147483992" r:id="rId28"/>
    <p:sldLayoutId id="2147483993" r:id="rId29"/>
    <p:sldLayoutId id="2147483994" r:id="rId30"/>
    <p:sldLayoutId id="2147483995" r:id="rId31"/>
    <p:sldLayoutId id="2147483996" r:id="rId32"/>
    <p:sldLayoutId id="2147483997" r:id="rId33"/>
    <p:sldLayoutId id="2147483998" r:id="rId34"/>
    <p:sldLayoutId id="2147483999" r:id="rId35"/>
    <p:sldLayoutId id="2147484000" r:id="rId36"/>
    <p:sldLayoutId id="2147484001" r:id="rId37"/>
    <p:sldLayoutId id="2147484002" r:id="rId38"/>
    <p:sldLayoutId id="2147484003" r:id="rId39"/>
    <p:sldLayoutId id="2147484004" r:id="rId40"/>
    <p:sldLayoutId id="2147484005" r:id="rId41"/>
    <p:sldLayoutId id="2147484006" r:id="rId42"/>
    <p:sldLayoutId id="2147484007" r:id="rId43"/>
    <p:sldLayoutId id="2147484008" r:id="rId44"/>
    <p:sldLayoutId id="2147484009" r:id="rId45"/>
    <p:sldLayoutId id="2147484010" r:id="rId46"/>
    <p:sldLayoutId id="2147484011" r:id="rId47"/>
    <p:sldLayoutId id="2147484012" r:id="rId48"/>
    <p:sldLayoutId id="2147484013"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6877BF-2A93-BDDE-7C48-25E1E21D2F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BA6A61-C1C7-CAB7-F8DB-A076801483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7938A8-A666-3FFF-24BB-38873E4F8B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F5362CAF-AF31-DDD3-0E1D-48F92CED8F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2D2A2C0-C6C2-DD21-A36F-A9BA8C0726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2E7D9D9-9EF4-4EBD-8559-079F098B0F40}" type="slidenum">
              <a:rPr lang="en-US" smtClean="0"/>
              <a:t>‹#›</a:t>
            </a:fld>
            <a:endParaRPr lang="en-US"/>
          </a:p>
        </p:txBody>
      </p:sp>
    </p:spTree>
    <p:extLst>
      <p:ext uri="{BB962C8B-B14F-4D97-AF65-F5344CB8AC3E}">
        <p14:creationId xmlns:p14="http://schemas.microsoft.com/office/powerpoint/2010/main" val="1957330382"/>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
        <p:nvSpPr>
          <p:cNvPr id="6" name="TextBox 5">
            <a:extLst>
              <a:ext uri="{FF2B5EF4-FFF2-40B4-BE49-F238E27FC236}">
                <a16:creationId xmlns:a16="http://schemas.microsoft.com/office/drawing/2014/main" id="{510B05E0-AABF-D267-C81F-209AFF0FEC05}"/>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080745142"/>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 id="2147484072" r:id="rId34"/>
    <p:sldLayoutId id="2147484073" r:id="rId35"/>
    <p:sldLayoutId id="2147484074" r:id="rId36"/>
    <p:sldLayoutId id="2147484075" r:id="rId37"/>
    <p:sldLayoutId id="2147484076" r:id="rId38"/>
    <p:sldLayoutId id="2147484077" r:id="rId39"/>
    <p:sldLayoutId id="2147484078" r:id="rId40"/>
    <p:sldLayoutId id="2147484079" r:id="rId41"/>
    <p:sldLayoutId id="2147484080" r:id="rId42"/>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000296702"/>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 id="2147484106" r:id="rId25"/>
    <p:sldLayoutId id="2147484107" r:id="rId26"/>
    <p:sldLayoutId id="2147484108" r:id="rId27"/>
    <p:sldLayoutId id="2147484109" r:id="rId28"/>
    <p:sldLayoutId id="2147484110" r:id="rId29"/>
    <p:sldLayoutId id="2147484111" r:id="rId30"/>
    <p:sldLayoutId id="2147484112" r:id="rId31"/>
    <p:sldLayoutId id="2147484113" r:id="rId32"/>
    <p:sldLayoutId id="2147484114" r:id="rId33"/>
    <p:sldLayoutId id="2147484115" r:id="rId34"/>
    <p:sldLayoutId id="2147484116" r:id="rId35"/>
    <p:sldLayoutId id="2147484117" r:id="rId36"/>
    <p:sldLayoutId id="2147484118" r:id="rId37"/>
    <p:sldLayoutId id="2147484119" r:id="rId38"/>
    <p:sldLayoutId id="2147484120" r:id="rId39"/>
    <p:sldLayoutId id="2147484121" r:id="rId40"/>
    <p:sldLayoutId id="2147484122" r:id="rId41"/>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1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1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1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1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7EE5886B-3FE6-BAB6-A44F-3966FDC08807}"/>
              </a:ext>
              <a:ext uri="{C183D7F6-B498-43B3-948B-1728B52AA6E4}">
                <adec:decorative xmlns:adec="http://schemas.microsoft.com/office/drawing/2017/decorative" val="1"/>
              </a:ext>
            </a:extLst>
          </p:cNvPr>
          <p:cNvSpPr/>
          <p:nvPr userDrawn="1">
            <p:custDataLst>
              <p:tags r:id="rId1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FCF37996-1FC5-3AF6-D622-6A85283832D6}"/>
              </a:ext>
            </a:extLst>
          </p:cNvPr>
          <p:cNvSpPr/>
          <p:nvPr userDrawn="1">
            <p:custDataLst>
              <p:tags r:id="rId1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0965226"/>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g"/><Relationship Id="rId7"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150.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xml"/><Relationship Id="rId1" Type="http://schemas.openxmlformats.org/officeDocument/2006/relationships/slideLayout" Target="../slideLayouts/slideLayout189.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556B57-DCD7-1A81-4E15-9D2506D94FCA}"/>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5" name="Title 4">
            <a:extLst>
              <a:ext uri="{FF2B5EF4-FFF2-40B4-BE49-F238E27FC236}">
                <a16:creationId xmlns:a16="http://schemas.microsoft.com/office/drawing/2014/main" id="{140091A9-0BAF-D471-E303-192D21BF6EC1}"/>
              </a:ext>
            </a:extLst>
          </p:cNvPr>
          <p:cNvSpPr txBox="1">
            <a:spLocks noGrp="1" noRot="1" noMove="1" noResize="1" noEditPoints="1" noAdjustHandles="1" noChangeArrowheads="1" noChangeShapeType="1"/>
          </p:cNvSpPr>
          <p:nvPr/>
        </p:nvSpPr>
        <p:spPr>
          <a:xfrm>
            <a:off x="7729452" y="2603508"/>
            <a:ext cx="4296293" cy="738664"/>
          </a:xfrm>
          <a:prstGeom prst="rect">
            <a:avLst/>
          </a:prstGeom>
        </p:spPr>
        <p:txBody>
          <a:bodyPr vert="horz" wrap="square" lIns="0" tIns="0" rIns="0" bIns="0" rtlCol="0" anchor="t">
            <a:normAutofit fontScale="975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0070C0"/>
                </a:solidFill>
                <a:effectLst/>
                <a:uLnTx/>
                <a:uFillTx/>
                <a:latin typeface="Aptos Display" panose="02110004020202020204"/>
                <a:ea typeface="+mn-ea"/>
                <a:cs typeface="Segoe UI" pitchFamily="34" charset="0"/>
              </a:rPr>
              <a:t>SQL Saturday Atlanta 2024</a:t>
            </a:r>
          </a:p>
        </p:txBody>
      </p:sp>
      <p:sp>
        <p:nvSpPr>
          <p:cNvPr id="6" name="Title 4">
            <a:extLst>
              <a:ext uri="{FF2B5EF4-FFF2-40B4-BE49-F238E27FC236}">
                <a16:creationId xmlns:a16="http://schemas.microsoft.com/office/drawing/2014/main" id="{4B20852E-9E57-66C5-C88B-6B6D14B02752}"/>
              </a:ext>
            </a:extLst>
          </p:cNvPr>
          <p:cNvSpPr txBox="1">
            <a:spLocks/>
          </p:cNvSpPr>
          <p:nvPr/>
        </p:nvSpPr>
        <p:spPr>
          <a:xfrm>
            <a:off x="204318" y="117156"/>
            <a:ext cx="5046645" cy="2012509"/>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Aptos Display" panose="02110004020202020204"/>
                <a:ea typeface="+mj-ea"/>
                <a:cs typeface="+mj-cs"/>
              </a:rPr>
              <a:t>The PROCESS of Query Optimization</a:t>
            </a:r>
          </a:p>
        </p:txBody>
      </p:sp>
      <p:sp>
        <p:nvSpPr>
          <p:cNvPr id="7" name="Subtitle 5">
            <a:extLst>
              <a:ext uri="{FF2B5EF4-FFF2-40B4-BE49-F238E27FC236}">
                <a16:creationId xmlns:a16="http://schemas.microsoft.com/office/drawing/2014/main" id="{7A1B7876-2DE6-96A3-D470-893A41DC0329}"/>
              </a:ext>
            </a:extLst>
          </p:cNvPr>
          <p:cNvSpPr txBox="1">
            <a:spLocks/>
          </p:cNvSpPr>
          <p:nvPr/>
        </p:nvSpPr>
        <p:spPr>
          <a:xfrm>
            <a:off x="286908" y="3813883"/>
            <a:ext cx="4107874" cy="1663670"/>
          </a:xfrm>
          <a:prstGeom prst="rect">
            <a:avLst/>
          </a:prstGeom>
        </p:spPr>
        <p:txBody>
          <a:bodyP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rPr>
              <a:t>John Deardurff</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rPr>
              <a:t>Cloud Solution Architec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rPr>
              <a:t>Microsoft</a:t>
            </a:r>
          </a:p>
        </p:txBody>
      </p:sp>
      <p:pic>
        <p:nvPicPr>
          <p:cNvPr id="8" name="Picture 2" descr="Navigation bar avatar">
            <a:extLst>
              <a:ext uri="{FF2B5EF4-FFF2-40B4-BE49-F238E27FC236}">
                <a16:creationId xmlns:a16="http://schemas.microsoft.com/office/drawing/2014/main" id="{F43F03C8-C904-F542-D146-706108B233FC}"/>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451273" y="323409"/>
            <a:ext cx="3481097" cy="2012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7724823"/>
      </p:ext>
    </p:extLst>
  </p:cSld>
  <p:clrMapOvr>
    <a:masterClrMapping/>
  </p:clrMapOvr>
  <mc:AlternateContent xmlns:mc="http://schemas.openxmlformats.org/markup-compatibility/2006" xmlns:p14="http://schemas.microsoft.com/office/powerpoint/2010/main">
    <mc:Choice Requires="p14">
      <p:transition spd="slow" p14:dur="2000" advTm="3624"/>
    </mc:Choice>
    <mc:Fallback xmlns="">
      <p:transition spd="slow" advTm="3624"/>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829D1EC-E3E0-4457-9E80-A49963D51023}"/>
              </a:ext>
            </a:extLst>
          </p:cNvPr>
          <p:cNvGraphicFramePr/>
          <p:nvPr>
            <p:extLst>
              <p:ext uri="{D42A27DB-BD31-4B8C-83A1-F6EECF244321}">
                <p14:modId xmlns:p14="http://schemas.microsoft.com/office/powerpoint/2010/main" val="778139730"/>
              </p:ext>
            </p:extLst>
          </p:nvPr>
        </p:nvGraphicFramePr>
        <p:xfrm>
          <a:off x="535259" y="857260"/>
          <a:ext cx="11117765" cy="538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67EA4E03-4FFD-4170-A431-6404A9119734}"/>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3200" spc="-50" dirty="0">
                <a:ln w="3175">
                  <a:noFill/>
                </a:ln>
                <a:solidFill>
                  <a:schemeClr val="tx1"/>
                </a:solidFill>
                <a:ea typeface="+mn-ea"/>
                <a:cs typeface="Segoe UI" pitchFamily="34" charset="0"/>
              </a:rPr>
              <a:t>Query Simplification phases</a:t>
            </a:r>
          </a:p>
        </p:txBody>
      </p:sp>
    </p:spTree>
    <p:extLst>
      <p:ext uri="{BB962C8B-B14F-4D97-AF65-F5344CB8AC3E}">
        <p14:creationId xmlns:p14="http://schemas.microsoft.com/office/powerpoint/2010/main" val="542595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71358"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423718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800784" y="695059"/>
            <a:ext cx="7174620" cy="360778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Global Delivery Tea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2000 - Curren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945" y="695059"/>
            <a:ext cx="3629327" cy="3629327"/>
          </a:xfrm>
          <a:prstGeom prst="ellipse">
            <a:avLst/>
          </a:prstGeom>
          <a:ln w="63500" cap="rnd">
            <a:solidFill>
              <a:schemeClr val="accent4">
                <a:lumMod val="50000"/>
              </a:schemeClr>
            </a:solidFill>
          </a:ln>
          <a:effectLst>
            <a:glow rad="228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nvGrpSpPr>
          <p:cNvPr id="8" name="Group 7">
            <a:extLst>
              <a:ext uri="{FF2B5EF4-FFF2-40B4-BE49-F238E27FC236}">
                <a16:creationId xmlns:a16="http://schemas.microsoft.com/office/drawing/2014/main" id="{A3106368-40E6-B461-0686-92FA62605075}"/>
              </a:ext>
            </a:extLst>
          </p:cNvPr>
          <p:cNvGrpSpPr/>
          <p:nvPr/>
        </p:nvGrpSpPr>
        <p:grpSpPr>
          <a:xfrm>
            <a:off x="571082" y="4613161"/>
            <a:ext cx="11277988" cy="1711808"/>
            <a:chOff x="571082" y="4613161"/>
            <a:chExt cx="11277988" cy="1711808"/>
          </a:xfrm>
        </p:grpSpPr>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7129"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5606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464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1082" y="4704498"/>
              <a:ext cx="1620471" cy="162047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QLskills Blackbelt - SQL Server 2019 badge image. Learning. Advanced level. Issued by SQLskills">
              <a:extLst>
                <a:ext uri="{FF2B5EF4-FFF2-40B4-BE49-F238E27FC236}">
                  <a16:creationId xmlns:a16="http://schemas.microsoft.com/office/drawing/2014/main" id="{6EC1ED86-6E3B-112F-1B5F-9B8B10E32F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4990" y="4613161"/>
              <a:ext cx="1944080" cy="171180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icrosoft Certified: Power BI Data Analyst Associate badge image. Issued by Microsoft">
              <a:extLst>
                <a:ext uri="{FF2B5EF4-FFF2-40B4-BE49-F238E27FC236}">
                  <a16:creationId xmlns:a16="http://schemas.microsoft.com/office/drawing/2014/main" id="{BA0BFAC2-277A-8273-E4AB-801CDD3CC8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13572"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19554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3007">
        <p159:morph option="byObject"/>
      </p:transition>
    </mc:Choice>
    <mc:Fallback xmlns="">
      <p:transition spd="slow" advTm="3007">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1B4DF3-7068-F828-9358-33A6A400FAFE}"/>
              </a:ext>
            </a:extLst>
          </p:cNvPr>
          <p:cNvPicPr>
            <a:picLocks noChangeAspect="1"/>
          </p:cNvPicPr>
          <p:nvPr/>
        </p:nvPicPr>
        <p:blipFill>
          <a:blip r:embed="rId2"/>
          <a:stretch>
            <a:fillRect/>
          </a:stretch>
        </p:blipFill>
        <p:spPr>
          <a:xfrm>
            <a:off x="176271" y="167357"/>
            <a:ext cx="11839458" cy="6523285"/>
          </a:xfrm>
          <a:prstGeom prst="rect">
            <a:avLst/>
          </a:prstGeom>
        </p:spPr>
      </p:pic>
    </p:spTree>
    <p:extLst>
      <p:ext uri="{BB962C8B-B14F-4D97-AF65-F5344CB8AC3E}">
        <p14:creationId xmlns:p14="http://schemas.microsoft.com/office/powerpoint/2010/main" val="2423938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3">
            <a:extLst>
              <a:ext uri="{FF2B5EF4-FFF2-40B4-BE49-F238E27FC236}">
                <a16:creationId xmlns:a16="http://schemas.microsoft.com/office/drawing/2014/main" id="{9879D0F5-89D3-6240-91C8-501A61AEA947}"/>
              </a:ext>
            </a:extLst>
          </p:cNvPr>
          <p:cNvSpPr>
            <a:spLocks noGrp="1"/>
          </p:cNvSpPr>
          <p:nvPr>
            <p:ph type="sldNum" sz="quarter" idx="15"/>
          </p:nvPr>
        </p:nvSpPr>
        <p:spPr/>
        <p:txBody>
          <a:bodyPr/>
          <a:lstStyle/>
          <a:p>
            <a:pPr defTabSz="536948"/>
            <a:fld id="{6917C22C-C5D7-4539-A137-217872CE6377}" type="slidenum">
              <a:rPr lang="en-US">
                <a:solidFill>
                  <a:srgbClr val="505050"/>
                </a:solidFill>
                <a:latin typeface="Segoe UI"/>
              </a:rPr>
              <a:pPr defTabSz="536948"/>
              <a:t>4</a:t>
            </a:fld>
            <a:endParaRPr lang="en-US">
              <a:solidFill>
                <a:srgbClr val="505050"/>
              </a:solidFill>
              <a:latin typeface="Segoe UI"/>
            </a:endParaRPr>
          </a:p>
        </p:txBody>
      </p:sp>
      <p:sp>
        <p:nvSpPr>
          <p:cNvPr id="53" name="Text Placeholder 24">
            <a:extLst>
              <a:ext uri="{FF2B5EF4-FFF2-40B4-BE49-F238E27FC236}">
                <a16:creationId xmlns:a16="http://schemas.microsoft.com/office/drawing/2014/main" id="{65AD5F42-D287-F243-A35B-06CFE2BFA1B9}"/>
              </a:ext>
            </a:extLst>
          </p:cNvPr>
          <p:cNvSpPr txBox="1">
            <a:spLocks/>
          </p:cNvSpPr>
          <p:nvPr/>
        </p:nvSpPr>
        <p:spPr>
          <a:xfrm>
            <a:off x="442679" y="1059491"/>
            <a:ext cx="6371075" cy="4928235"/>
          </a:xfrm>
          <a:prstGeom prst="rect">
            <a:avLst/>
          </a:prstGeom>
        </p:spPr>
        <p:txBody>
          <a:bodyPr vert="horz" lIns="0" tIns="0" rIns="0" bIns="0" rtlCol="0" anchor="t">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448193" indent="-448193" defTabSz="498603">
              <a:lnSpc>
                <a:spcPct val="150000"/>
              </a:lnSpc>
              <a:buFont typeface="Arial" panose="020B0604020202020204" pitchFamily="34" charset="0"/>
              <a:buChar char="•"/>
            </a:pPr>
            <a:r>
              <a:rPr lang="en-US" sz="3137" dirty="0">
                <a:solidFill>
                  <a:srgbClr val="505050"/>
                </a:solidFill>
                <a:latin typeface="Segoe UI"/>
              </a:rPr>
              <a:t>The PROCESS of Queries</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Resolving Stage</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Optimization Phases</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Steps of Simplification</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MAXDOP and CTOP</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Demonstration</a:t>
            </a:r>
          </a:p>
          <a:p>
            <a:pPr defTabSz="498603">
              <a:lnSpc>
                <a:spcPct val="150000"/>
              </a:lnSpc>
            </a:pPr>
            <a:endParaRPr lang="en-US" sz="3137" dirty="0">
              <a:solidFill>
                <a:srgbClr val="505050"/>
              </a:solidFill>
              <a:latin typeface="Segoe UI"/>
            </a:endParaRPr>
          </a:p>
          <a:p>
            <a:pPr defTabSz="498603">
              <a:lnSpc>
                <a:spcPct val="150000"/>
              </a:lnSpc>
            </a:pPr>
            <a:endParaRPr lang="en-US" sz="3137" dirty="0">
              <a:solidFill>
                <a:srgbClr val="505050"/>
              </a:solidFill>
              <a:latin typeface="Segoe UI"/>
            </a:endParaRPr>
          </a:p>
          <a:p>
            <a:pPr defTabSz="498603">
              <a:lnSpc>
                <a:spcPct val="100000"/>
              </a:lnSpc>
            </a:pPr>
            <a:endParaRPr lang="en-US" sz="2745" dirty="0">
              <a:solidFill>
                <a:srgbClr val="505050"/>
              </a:solidFill>
              <a:latin typeface="Segoe UI"/>
            </a:endParaRPr>
          </a:p>
        </p:txBody>
      </p:sp>
      <p:sp>
        <p:nvSpPr>
          <p:cNvPr id="4" name="Title 3">
            <a:extLst>
              <a:ext uri="{FF2B5EF4-FFF2-40B4-BE49-F238E27FC236}">
                <a16:creationId xmlns:a16="http://schemas.microsoft.com/office/drawing/2014/main" id="{F2A909A5-58A4-48AB-A7EA-E8A8CD544FFA}"/>
              </a:ext>
            </a:extLst>
          </p:cNvPr>
          <p:cNvSpPr>
            <a:spLocks noGrp="1"/>
          </p:cNvSpPr>
          <p:nvPr>
            <p:ph type="title"/>
          </p:nvPr>
        </p:nvSpPr>
        <p:spPr>
          <a:xfrm>
            <a:off x="269888" y="289143"/>
            <a:ext cx="10545612" cy="753289"/>
          </a:xfrm>
        </p:spPr>
        <p:txBody>
          <a:bodyPr/>
          <a:lstStyle/>
          <a:p>
            <a:r>
              <a:rPr lang="en-US" dirty="0"/>
              <a:t>Agenda</a:t>
            </a:r>
          </a:p>
        </p:txBody>
      </p:sp>
      <p:pic>
        <p:nvPicPr>
          <p:cNvPr id="3" name="Picture 2" descr="Machine gears">
            <a:extLst>
              <a:ext uri="{FF2B5EF4-FFF2-40B4-BE49-F238E27FC236}">
                <a16:creationId xmlns:a16="http://schemas.microsoft.com/office/drawing/2014/main" id="{6C5A0D02-1ABB-1769-9CBA-E7DF11C6BA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8787" y="0"/>
            <a:ext cx="5673213" cy="6858000"/>
          </a:xfrm>
          <a:prstGeom prst="rect">
            <a:avLst/>
          </a:prstGeom>
        </p:spPr>
      </p:pic>
    </p:spTree>
    <p:extLst>
      <p:ext uri="{BB962C8B-B14F-4D97-AF65-F5344CB8AC3E}">
        <p14:creationId xmlns:p14="http://schemas.microsoft.com/office/powerpoint/2010/main" val="24794333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A279F63-2637-42E4-B26C-29027ABA2302}"/>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3200" spc="-50" dirty="0">
                <a:ln w="3175">
                  <a:noFill/>
                </a:ln>
                <a:solidFill>
                  <a:schemeClr val="tx1"/>
                </a:solidFill>
                <a:ea typeface="+mn-ea"/>
                <a:cs typeface="Segoe UI" pitchFamily="34" charset="0"/>
              </a:rPr>
              <a:t>What does the binding step resolve?</a:t>
            </a:r>
          </a:p>
        </p:txBody>
      </p:sp>
      <p:sp>
        <p:nvSpPr>
          <p:cNvPr id="2" name="Content Placeholder 11">
            <a:extLst>
              <a:ext uri="{FF2B5EF4-FFF2-40B4-BE49-F238E27FC236}">
                <a16:creationId xmlns:a16="http://schemas.microsoft.com/office/drawing/2014/main" id="{7D7293FF-F9F1-FF59-F498-EC6C990DFDE7}"/>
              </a:ext>
            </a:extLst>
          </p:cNvPr>
          <p:cNvSpPr txBox="1">
            <a:spLocks/>
          </p:cNvSpPr>
          <p:nvPr/>
        </p:nvSpPr>
        <p:spPr>
          <a:xfrm>
            <a:off x="6976378" y="922469"/>
            <a:ext cx="4830762" cy="5799066"/>
          </a:xfrm>
          <a:prstGeom prst="rect">
            <a:avLst/>
          </a:prstGeom>
        </p:spPr>
        <p:txBody>
          <a:bodyPr>
            <a:normAutofit fontScale="55000" lnSpcReduction="20000"/>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b="1"/>
              <a:t>Compilation</a:t>
            </a:r>
          </a:p>
          <a:p>
            <a:pPr marL="0" lvl="1" indent="0">
              <a:buFont typeface="Arial"/>
              <a:buNone/>
            </a:pPr>
            <a:r>
              <a:rPr lang="en-US" sz="3600"/>
              <a:t>Process of creating a good enough query execution plan, as quickly as possible for a query batch. </a:t>
            </a:r>
          </a:p>
          <a:p>
            <a:pPr marL="0" lvl="1" indent="0">
              <a:buFont typeface="Arial"/>
              <a:buNone/>
            </a:pPr>
            <a:endParaRPr lang="en-US" sz="3600"/>
          </a:p>
          <a:p>
            <a:r>
              <a:rPr lang="en-US" sz="3600" b="1"/>
              <a:t>Compiled Plan (or Query Plan)</a:t>
            </a:r>
          </a:p>
          <a:p>
            <a:r>
              <a:rPr lang="en-US" sz="3600"/>
              <a:t>Compilation produces a query plan, which is a read-only data structure used by any number of users.</a:t>
            </a:r>
          </a:p>
          <a:p>
            <a:pPr marL="0" lvl="1" indent="0">
              <a:buFont typeface="Arial"/>
              <a:buNone/>
            </a:pPr>
            <a:endParaRPr lang="en-US" sz="3600"/>
          </a:p>
          <a:p>
            <a:r>
              <a:rPr lang="en-US" sz="3600" b="1"/>
              <a:t>Query Execution</a:t>
            </a:r>
          </a:p>
          <a:p>
            <a:pPr marL="0" lvl="1" indent="0">
              <a:buFont typeface="Arial"/>
              <a:buNone/>
            </a:pPr>
            <a:r>
              <a:rPr lang="en-US" sz="3600"/>
              <a:t>Process of executing the plan that is created during query compilation and optimization.</a:t>
            </a:r>
          </a:p>
          <a:p>
            <a:endParaRPr lang="en-US" sz="3600" b="1"/>
          </a:p>
          <a:p>
            <a:r>
              <a:rPr lang="en-US" sz="3600" b="1"/>
              <a:t>Execution Context</a:t>
            </a:r>
          </a:p>
          <a:p>
            <a:r>
              <a:rPr lang="en-US" sz="3600"/>
              <a:t>A data structure used to hold information specific to a query execution, such as parameter values.</a:t>
            </a:r>
            <a:endParaRPr lang="en-US" sz="2200" dirty="0"/>
          </a:p>
        </p:txBody>
      </p:sp>
      <p:grpSp>
        <p:nvGrpSpPr>
          <p:cNvPr id="3" name="Group 2">
            <a:extLst>
              <a:ext uri="{FF2B5EF4-FFF2-40B4-BE49-F238E27FC236}">
                <a16:creationId xmlns:a16="http://schemas.microsoft.com/office/drawing/2014/main" id="{E2FDF4FE-66A9-D5FE-1599-C26F9641166C}"/>
              </a:ext>
            </a:extLst>
          </p:cNvPr>
          <p:cNvGrpSpPr/>
          <p:nvPr/>
        </p:nvGrpSpPr>
        <p:grpSpPr>
          <a:xfrm>
            <a:off x="53095" y="1927613"/>
            <a:ext cx="6602461" cy="3361209"/>
            <a:chOff x="5202321" y="2057400"/>
            <a:chExt cx="6602461" cy="3361209"/>
          </a:xfrm>
        </p:grpSpPr>
        <p:graphicFrame>
          <p:nvGraphicFramePr>
            <p:cNvPr id="4" name="Diagram 3">
              <a:extLst>
                <a:ext uri="{FF2B5EF4-FFF2-40B4-BE49-F238E27FC236}">
                  <a16:creationId xmlns:a16="http://schemas.microsoft.com/office/drawing/2014/main" id="{8EC4BC58-A5CB-00AB-FC5B-3BE8A5786DAE}"/>
                </a:ext>
              </a:extLst>
            </p:cNvPr>
            <p:cNvGraphicFramePr/>
            <p:nvPr/>
          </p:nvGraphicFramePr>
          <p:xfrm>
            <a:off x="5410200" y="2057400"/>
            <a:ext cx="6126162" cy="33612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CC9CD388-F8D5-BF5A-5B1F-3B6C689607BB}"/>
                </a:ext>
              </a:extLst>
            </p:cNvPr>
            <p:cNvSpPr txBox="1"/>
            <p:nvPr/>
          </p:nvSpPr>
          <p:spPr>
            <a:xfrm>
              <a:off x="9448800" y="2861846"/>
              <a:ext cx="118352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Query Plan</a:t>
              </a:r>
            </a:p>
          </p:txBody>
        </p:sp>
        <p:sp>
          <p:nvSpPr>
            <p:cNvPr id="8" name="TextBox 7">
              <a:extLst>
                <a:ext uri="{FF2B5EF4-FFF2-40B4-BE49-F238E27FC236}">
                  <a16:creationId xmlns:a16="http://schemas.microsoft.com/office/drawing/2014/main" id="{3DE9DF24-3D07-9366-CA38-1133B92370B0}"/>
                </a:ext>
              </a:extLst>
            </p:cNvPr>
            <p:cNvSpPr txBox="1"/>
            <p:nvPr/>
          </p:nvSpPr>
          <p:spPr>
            <a:xfrm>
              <a:off x="5202321"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1</a:t>
              </a:r>
            </a:p>
          </p:txBody>
        </p:sp>
        <p:sp>
          <p:nvSpPr>
            <p:cNvPr id="9" name="TextBox 8">
              <a:extLst>
                <a:ext uri="{FF2B5EF4-FFF2-40B4-BE49-F238E27FC236}">
                  <a16:creationId xmlns:a16="http://schemas.microsoft.com/office/drawing/2014/main" id="{205016B2-F49E-1EDB-CA17-76D7E6A24290}"/>
                </a:ext>
              </a:extLst>
            </p:cNvPr>
            <p:cNvSpPr txBox="1"/>
            <p:nvPr/>
          </p:nvSpPr>
          <p:spPr>
            <a:xfrm>
              <a:off x="9459876"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3</a:t>
              </a:r>
            </a:p>
          </p:txBody>
        </p:sp>
        <p:sp>
          <p:nvSpPr>
            <p:cNvPr id="10" name="TextBox 9">
              <a:extLst>
                <a:ext uri="{FF2B5EF4-FFF2-40B4-BE49-F238E27FC236}">
                  <a16:creationId xmlns:a16="http://schemas.microsoft.com/office/drawing/2014/main" id="{BDA3D848-A5D7-3FFB-CB86-5BA5166C47F1}"/>
                </a:ext>
              </a:extLst>
            </p:cNvPr>
            <p:cNvSpPr txBox="1"/>
            <p:nvPr/>
          </p:nvSpPr>
          <p:spPr>
            <a:xfrm>
              <a:off x="7300828"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2</a:t>
              </a:r>
            </a:p>
          </p:txBody>
        </p:sp>
      </p:grpSp>
    </p:spTree>
    <p:extLst>
      <p:ext uri="{BB962C8B-B14F-4D97-AF65-F5344CB8AC3E}">
        <p14:creationId xmlns:p14="http://schemas.microsoft.com/office/powerpoint/2010/main" val="17505969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ight Arrow 9"/>
          <p:cNvSpPr/>
          <p:nvPr/>
        </p:nvSpPr>
        <p:spPr>
          <a:xfrm>
            <a:off x="4932403" y="2641354"/>
            <a:ext cx="2286000"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084803" y="2856659"/>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cxnSp>
        <p:nvCxnSpPr>
          <p:cNvPr id="22" name="Straight Connector 21"/>
          <p:cNvCxnSpPr/>
          <p:nvPr/>
        </p:nvCxnSpPr>
        <p:spPr>
          <a:xfrm>
            <a:off x="1234074" y="5025870"/>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54272"/>
            <a:ext cx="410651" cy="522052"/>
          </a:xfrm>
          <a:prstGeom prst="rightArrow">
            <a:avLst/>
          </a:prstGeom>
          <a:solidFill>
            <a:srgbClr val="104C6A"/>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grpSp>
        <p:nvGrpSpPr>
          <p:cNvPr id="44" name="Group 43">
            <a:extLst>
              <a:ext uri="{FF2B5EF4-FFF2-40B4-BE49-F238E27FC236}">
                <a16:creationId xmlns:a16="http://schemas.microsoft.com/office/drawing/2014/main" id="{6DD40442-BB71-27EB-CBCE-88E4A5617D81}"/>
              </a:ext>
            </a:extLst>
          </p:cNvPr>
          <p:cNvGrpSpPr/>
          <p:nvPr/>
        </p:nvGrpSpPr>
        <p:grpSpPr>
          <a:xfrm>
            <a:off x="1669055" y="2381013"/>
            <a:ext cx="3080601" cy="1201055"/>
            <a:chOff x="1669055" y="2304502"/>
            <a:chExt cx="3080601" cy="1201055"/>
          </a:xfrm>
        </p:grpSpPr>
        <p:sp>
          <p:nvSpPr>
            <p:cNvPr id="38" name="Rectangle 37">
              <a:extLst>
                <a:ext uri="{FF2B5EF4-FFF2-40B4-BE49-F238E27FC236}">
                  <a16:creationId xmlns:a16="http://schemas.microsoft.com/office/drawing/2014/main" id="{41500892-DFD7-08A8-711E-6C49E81D841F}"/>
                </a:ext>
              </a:extLst>
            </p:cNvPr>
            <p:cNvSpPr/>
            <p:nvPr/>
          </p:nvSpPr>
          <p:spPr>
            <a:xfrm>
              <a:off x="1669055" y="2304502"/>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3" name="Rectangle 12"/>
            <p:cNvSpPr/>
            <p:nvPr/>
          </p:nvSpPr>
          <p:spPr>
            <a:xfrm>
              <a:off x="2377074" y="2405089"/>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294295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27" name="Rectangle 26"/>
            <p:cNvSpPr/>
            <p:nvPr/>
          </p:nvSpPr>
          <p:spPr>
            <a:xfrm>
              <a:off x="1837757" y="240508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32" name="Rectangle 31"/>
            <p:cNvSpPr/>
            <p:nvPr/>
          </p:nvSpPr>
          <p:spPr>
            <a:xfrm>
              <a:off x="2377074" y="294072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grpSp>
      <p:grpSp>
        <p:nvGrpSpPr>
          <p:cNvPr id="45" name="Group 44">
            <a:extLst>
              <a:ext uri="{FF2B5EF4-FFF2-40B4-BE49-F238E27FC236}">
                <a16:creationId xmlns:a16="http://schemas.microsoft.com/office/drawing/2014/main" id="{0466108F-CE1D-3A7F-C046-5FEBFD684740}"/>
              </a:ext>
            </a:extLst>
          </p:cNvPr>
          <p:cNvGrpSpPr/>
          <p:nvPr/>
        </p:nvGrpSpPr>
        <p:grpSpPr>
          <a:xfrm>
            <a:off x="1669055" y="3719471"/>
            <a:ext cx="3080601" cy="1201055"/>
            <a:chOff x="1669055" y="3719471"/>
            <a:chExt cx="3080601" cy="1201055"/>
          </a:xfrm>
        </p:grpSpPr>
        <p:sp>
          <p:nvSpPr>
            <p:cNvPr id="42" name="Rectangle 41">
              <a:extLst>
                <a:ext uri="{FF2B5EF4-FFF2-40B4-BE49-F238E27FC236}">
                  <a16:creationId xmlns:a16="http://schemas.microsoft.com/office/drawing/2014/main" id="{B8F12DB6-51D2-E647-4CC1-EB0AB30C1669}"/>
                </a:ext>
              </a:extLst>
            </p:cNvPr>
            <p:cNvSpPr/>
            <p:nvPr/>
          </p:nvSpPr>
          <p:spPr>
            <a:xfrm>
              <a:off x="1669055" y="3719471"/>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5" name="Rectangle 14"/>
            <p:cNvSpPr/>
            <p:nvPr/>
          </p:nvSpPr>
          <p:spPr>
            <a:xfrm>
              <a:off x="2377074" y="406874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28" name="Rectangle 27"/>
            <p:cNvSpPr/>
            <p:nvPr/>
          </p:nvSpPr>
          <p:spPr>
            <a:xfrm>
              <a:off x="1837757" y="383567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33" name="Rectangle 32"/>
            <p:cNvSpPr/>
            <p:nvPr/>
          </p:nvSpPr>
          <p:spPr>
            <a:xfrm>
              <a:off x="2377074" y="406651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gr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61434"/>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grpSp>
        <p:nvGrpSpPr>
          <p:cNvPr id="43" name="Group 42">
            <a:extLst>
              <a:ext uri="{FF2B5EF4-FFF2-40B4-BE49-F238E27FC236}">
                <a16:creationId xmlns:a16="http://schemas.microsoft.com/office/drawing/2014/main" id="{273F9E86-4DCA-05AA-BB59-43BE88B29934}"/>
              </a:ext>
            </a:extLst>
          </p:cNvPr>
          <p:cNvGrpSpPr/>
          <p:nvPr/>
        </p:nvGrpSpPr>
        <p:grpSpPr>
          <a:xfrm>
            <a:off x="1669055" y="1001613"/>
            <a:ext cx="3368122" cy="1241997"/>
            <a:chOff x="1669055" y="1001613"/>
            <a:chExt cx="3368122" cy="1241997"/>
          </a:xfrm>
        </p:grpSpPr>
        <p:sp>
          <p:nvSpPr>
            <p:cNvPr id="37" name="Rectangle 36">
              <a:extLst>
                <a:ext uri="{FF2B5EF4-FFF2-40B4-BE49-F238E27FC236}">
                  <a16:creationId xmlns:a16="http://schemas.microsoft.com/office/drawing/2014/main" id="{0A51EBE6-422E-7FB5-C38F-0D8190FB3AD4}"/>
                </a:ext>
              </a:extLst>
            </p:cNvPr>
            <p:cNvSpPr/>
            <p:nvPr/>
          </p:nvSpPr>
          <p:spPr>
            <a:xfrm>
              <a:off x="1669055" y="1001613"/>
              <a:ext cx="3080601" cy="1241997"/>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grpSp>
        <p:nvGrpSpPr>
          <p:cNvPr id="46" name="Group 45">
            <a:extLst>
              <a:ext uri="{FF2B5EF4-FFF2-40B4-BE49-F238E27FC236}">
                <a16:creationId xmlns:a16="http://schemas.microsoft.com/office/drawing/2014/main" id="{3A4DF0B2-8E17-4C38-2D8C-255C4CE2C25A}"/>
              </a:ext>
            </a:extLst>
          </p:cNvPr>
          <p:cNvGrpSpPr/>
          <p:nvPr/>
        </p:nvGrpSpPr>
        <p:grpSpPr>
          <a:xfrm>
            <a:off x="5141765" y="475465"/>
            <a:ext cx="2472255" cy="956993"/>
            <a:chOff x="5218457" y="456874"/>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18457" y="456874"/>
              <a:ext cx="1908107" cy="850395"/>
            </a:xfrm>
            <a:prstGeom prst="straightConnector1">
              <a:avLst/>
            </a:prstGeom>
            <a:ln w="57150">
              <a:solidFill>
                <a:srgbClr val="104C6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05133" y="767536"/>
              <a:ext cx="2085579" cy="646331"/>
            </a:xfrm>
            <a:prstGeom prst="rect">
              <a:avLst/>
            </a:prstGeom>
            <a:noFill/>
          </p:spPr>
          <p:txBody>
            <a:bodyPr wrap="square" rtlCol="0">
              <a:spAutoFit/>
            </a:bodyPr>
            <a:lstStyle/>
            <a:p>
              <a:r>
                <a:rPr lang="en-US" dirty="0">
                  <a:solidFill>
                    <a:srgbClr val="104C6A"/>
                  </a:solidFill>
                </a:rPr>
                <a:t>First Execution</a:t>
              </a:r>
            </a:p>
            <a:p>
              <a:r>
                <a:rPr lang="en-US" dirty="0">
                  <a:solidFill>
                    <a:srgbClr val="104C6A"/>
                  </a:solidFill>
                </a:rPr>
                <a:t>  or Recompile</a:t>
              </a:r>
            </a:p>
          </p:txBody>
        </p:sp>
      </p:grpSp>
      <p:pic>
        <p:nvPicPr>
          <p:cNvPr id="30" name="Picture 29">
            <a:extLst>
              <a:ext uri="{FF2B5EF4-FFF2-40B4-BE49-F238E27FC236}">
                <a16:creationId xmlns:a16="http://schemas.microsoft.com/office/drawing/2014/main" id="{AF9B3780-8214-7298-9874-BED0E895195C}"/>
              </a:ext>
            </a:extLst>
          </p:cNvPr>
          <p:cNvPicPr>
            <a:picLocks noChangeAspect="1"/>
          </p:cNvPicPr>
          <p:nvPr/>
        </p:nvPicPr>
        <p:blipFill>
          <a:blip r:embed="rId3"/>
          <a:stretch>
            <a:fillRect/>
          </a:stretch>
        </p:blipFill>
        <p:spPr>
          <a:xfrm>
            <a:off x="5721340" y="5170034"/>
            <a:ext cx="4423011" cy="122945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154953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extLst>
              <p:ext uri="{D42A27DB-BD31-4B8C-83A1-F6EECF244321}">
                <p14:modId xmlns:p14="http://schemas.microsoft.com/office/powerpoint/2010/main" val="2442980867"/>
              </p:ext>
            </p:extLst>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What does the binding step resolve?</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ight Arrow 9"/>
          <p:cNvSpPr/>
          <p:nvPr/>
        </p:nvSpPr>
        <p:spPr>
          <a:xfrm>
            <a:off x="4932403" y="2641354"/>
            <a:ext cx="2286000"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084803" y="2856659"/>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cxnSp>
        <p:nvCxnSpPr>
          <p:cNvPr id="22" name="Straight Connector 21"/>
          <p:cNvCxnSpPr/>
          <p:nvPr/>
        </p:nvCxnSpPr>
        <p:spPr>
          <a:xfrm>
            <a:off x="1234074" y="5025870"/>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54272"/>
            <a:ext cx="410651" cy="522052"/>
          </a:xfrm>
          <a:prstGeom prst="rightArrow">
            <a:avLst/>
          </a:prstGeom>
          <a:solidFill>
            <a:srgbClr val="104C6A"/>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grpSp>
        <p:nvGrpSpPr>
          <p:cNvPr id="44" name="Group 43">
            <a:extLst>
              <a:ext uri="{FF2B5EF4-FFF2-40B4-BE49-F238E27FC236}">
                <a16:creationId xmlns:a16="http://schemas.microsoft.com/office/drawing/2014/main" id="{6DD40442-BB71-27EB-CBCE-88E4A5617D81}"/>
              </a:ext>
            </a:extLst>
          </p:cNvPr>
          <p:cNvGrpSpPr/>
          <p:nvPr/>
        </p:nvGrpSpPr>
        <p:grpSpPr>
          <a:xfrm>
            <a:off x="1669055" y="2381013"/>
            <a:ext cx="3080601" cy="1201055"/>
            <a:chOff x="1669055" y="2304502"/>
            <a:chExt cx="3080601" cy="1201055"/>
          </a:xfrm>
        </p:grpSpPr>
        <p:sp>
          <p:nvSpPr>
            <p:cNvPr id="38" name="Rectangle 37">
              <a:extLst>
                <a:ext uri="{FF2B5EF4-FFF2-40B4-BE49-F238E27FC236}">
                  <a16:creationId xmlns:a16="http://schemas.microsoft.com/office/drawing/2014/main" id="{41500892-DFD7-08A8-711E-6C49E81D841F}"/>
                </a:ext>
              </a:extLst>
            </p:cNvPr>
            <p:cNvSpPr/>
            <p:nvPr/>
          </p:nvSpPr>
          <p:spPr>
            <a:xfrm>
              <a:off x="1669055" y="2304502"/>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3" name="Rectangle 12"/>
            <p:cNvSpPr/>
            <p:nvPr/>
          </p:nvSpPr>
          <p:spPr>
            <a:xfrm>
              <a:off x="2377074" y="2405089"/>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294295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27" name="Rectangle 26"/>
            <p:cNvSpPr/>
            <p:nvPr/>
          </p:nvSpPr>
          <p:spPr>
            <a:xfrm>
              <a:off x="1837757" y="240508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32" name="Rectangle 31"/>
            <p:cNvSpPr/>
            <p:nvPr/>
          </p:nvSpPr>
          <p:spPr>
            <a:xfrm>
              <a:off x="2377074" y="294072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grpSp>
      <p:grpSp>
        <p:nvGrpSpPr>
          <p:cNvPr id="45" name="Group 44">
            <a:extLst>
              <a:ext uri="{FF2B5EF4-FFF2-40B4-BE49-F238E27FC236}">
                <a16:creationId xmlns:a16="http://schemas.microsoft.com/office/drawing/2014/main" id="{0466108F-CE1D-3A7F-C046-5FEBFD684740}"/>
              </a:ext>
            </a:extLst>
          </p:cNvPr>
          <p:cNvGrpSpPr/>
          <p:nvPr/>
        </p:nvGrpSpPr>
        <p:grpSpPr>
          <a:xfrm>
            <a:off x="1669055" y="3719471"/>
            <a:ext cx="3080601" cy="1201055"/>
            <a:chOff x="1669055" y="3719471"/>
            <a:chExt cx="3080601" cy="1201055"/>
          </a:xfrm>
        </p:grpSpPr>
        <p:sp>
          <p:nvSpPr>
            <p:cNvPr id="42" name="Rectangle 41">
              <a:extLst>
                <a:ext uri="{FF2B5EF4-FFF2-40B4-BE49-F238E27FC236}">
                  <a16:creationId xmlns:a16="http://schemas.microsoft.com/office/drawing/2014/main" id="{B8F12DB6-51D2-E647-4CC1-EB0AB30C1669}"/>
                </a:ext>
              </a:extLst>
            </p:cNvPr>
            <p:cNvSpPr/>
            <p:nvPr/>
          </p:nvSpPr>
          <p:spPr>
            <a:xfrm>
              <a:off x="1669055" y="3719471"/>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5" name="Rectangle 14"/>
            <p:cNvSpPr/>
            <p:nvPr/>
          </p:nvSpPr>
          <p:spPr>
            <a:xfrm>
              <a:off x="2377074" y="406874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28" name="Rectangle 27"/>
            <p:cNvSpPr/>
            <p:nvPr/>
          </p:nvSpPr>
          <p:spPr>
            <a:xfrm>
              <a:off x="1837757" y="383567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33" name="Rectangle 32"/>
            <p:cNvSpPr/>
            <p:nvPr/>
          </p:nvSpPr>
          <p:spPr>
            <a:xfrm>
              <a:off x="2377074" y="406651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gr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61434"/>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grpSp>
        <p:nvGrpSpPr>
          <p:cNvPr id="43" name="Group 42">
            <a:extLst>
              <a:ext uri="{FF2B5EF4-FFF2-40B4-BE49-F238E27FC236}">
                <a16:creationId xmlns:a16="http://schemas.microsoft.com/office/drawing/2014/main" id="{273F9E86-4DCA-05AA-BB59-43BE88B29934}"/>
              </a:ext>
            </a:extLst>
          </p:cNvPr>
          <p:cNvGrpSpPr/>
          <p:nvPr/>
        </p:nvGrpSpPr>
        <p:grpSpPr>
          <a:xfrm>
            <a:off x="1669055" y="1001613"/>
            <a:ext cx="3368122" cy="1241997"/>
            <a:chOff x="1669055" y="1001613"/>
            <a:chExt cx="3368122" cy="1241997"/>
          </a:xfrm>
        </p:grpSpPr>
        <p:sp>
          <p:nvSpPr>
            <p:cNvPr id="37" name="Rectangle 36">
              <a:extLst>
                <a:ext uri="{FF2B5EF4-FFF2-40B4-BE49-F238E27FC236}">
                  <a16:creationId xmlns:a16="http://schemas.microsoft.com/office/drawing/2014/main" id="{0A51EBE6-422E-7FB5-C38F-0D8190FB3AD4}"/>
                </a:ext>
              </a:extLst>
            </p:cNvPr>
            <p:cNvSpPr/>
            <p:nvPr/>
          </p:nvSpPr>
          <p:spPr>
            <a:xfrm>
              <a:off x="1669055" y="1001613"/>
              <a:ext cx="3080601" cy="1241997"/>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grpSp>
        <p:nvGrpSpPr>
          <p:cNvPr id="46" name="Group 45">
            <a:extLst>
              <a:ext uri="{FF2B5EF4-FFF2-40B4-BE49-F238E27FC236}">
                <a16:creationId xmlns:a16="http://schemas.microsoft.com/office/drawing/2014/main" id="{3A4DF0B2-8E17-4C38-2D8C-255C4CE2C25A}"/>
              </a:ext>
            </a:extLst>
          </p:cNvPr>
          <p:cNvGrpSpPr/>
          <p:nvPr/>
        </p:nvGrpSpPr>
        <p:grpSpPr>
          <a:xfrm>
            <a:off x="5141765" y="475465"/>
            <a:ext cx="2472255" cy="956993"/>
            <a:chOff x="5218457" y="456874"/>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18457" y="456874"/>
              <a:ext cx="1908107" cy="850395"/>
            </a:xfrm>
            <a:prstGeom prst="straightConnector1">
              <a:avLst/>
            </a:prstGeom>
            <a:ln w="57150">
              <a:solidFill>
                <a:srgbClr val="104C6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05133" y="767536"/>
              <a:ext cx="2085579" cy="646331"/>
            </a:xfrm>
            <a:prstGeom prst="rect">
              <a:avLst/>
            </a:prstGeom>
            <a:noFill/>
          </p:spPr>
          <p:txBody>
            <a:bodyPr wrap="square" rtlCol="0">
              <a:spAutoFit/>
            </a:bodyPr>
            <a:lstStyle/>
            <a:p>
              <a:r>
                <a:rPr lang="en-US" dirty="0">
                  <a:solidFill>
                    <a:srgbClr val="104C6A"/>
                  </a:solidFill>
                </a:rPr>
                <a:t>First Execution</a:t>
              </a:r>
            </a:p>
            <a:p>
              <a:r>
                <a:rPr lang="en-US" dirty="0">
                  <a:solidFill>
                    <a:srgbClr val="104C6A"/>
                  </a:solidFill>
                </a:rPr>
                <a:t>  or Recompile</a:t>
              </a:r>
            </a:p>
          </p:txBody>
        </p:sp>
      </p:grpSp>
      <p:pic>
        <p:nvPicPr>
          <p:cNvPr id="30" name="Picture 29">
            <a:extLst>
              <a:ext uri="{FF2B5EF4-FFF2-40B4-BE49-F238E27FC236}">
                <a16:creationId xmlns:a16="http://schemas.microsoft.com/office/drawing/2014/main" id="{AF9B3780-8214-7298-9874-BED0E895195C}"/>
              </a:ext>
            </a:extLst>
          </p:cNvPr>
          <p:cNvPicPr>
            <a:picLocks noChangeAspect="1"/>
          </p:cNvPicPr>
          <p:nvPr/>
        </p:nvPicPr>
        <p:blipFill>
          <a:blip r:embed="rId3"/>
          <a:stretch>
            <a:fillRect/>
          </a:stretch>
        </p:blipFill>
        <p:spPr>
          <a:xfrm>
            <a:off x="5721340" y="5170034"/>
            <a:ext cx="4423011" cy="122945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50711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82244"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394837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6.xml><?xml version="1.0" encoding="utf-8"?>
<a:theme xmlns:a="http://schemas.openxmlformats.org/drawingml/2006/main" name="2_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7.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1977</TotalTime>
  <Words>4527</Words>
  <Application>Microsoft Office PowerPoint</Application>
  <PresentationFormat>Widescreen</PresentationFormat>
  <Paragraphs>282</Paragraphs>
  <Slides>12</Slides>
  <Notes>10</Notes>
  <HiddenSlides>0</HiddenSlides>
  <MMClips>0</MMClips>
  <ScaleCrop>false</ScaleCrop>
  <HeadingPairs>
    <vt:vector size="8" baseType="variant">
      <vt:variant>
        <vt:lpstr>Fonts Used</vt:lpstr>
      </vt:variant>
      <vt:variant>
        <vt:i4>14</vt:i4>
      </vt:variant>
      <vt:variant>
        <vt:lpstr>Theme</vt:lpstr>
      </vt:variant>
      <vt:variant>
        <vt:i4>7</vt:i4>
      </vt:variant>
      <vt:variant>
        <vt:lpstr>Slide Titles</vt:lpstr>
      </vt:variant>
      <vt:variant>
        <vt:i4>12</vt:i4>
      </vt:variant>
      <vt:variant>
        <vt:lpstr>Custom Shows</vt:lpstr>
      </vt:variant>
      <vt:variant>
        <vt:i4>1</vt:i4>
      </vt:variant>
    </vt:vector>
  </HeadingPairs>
  <TitlesOfParts>
    <vt:vector size="34" baseType="lpstr">
      <vt:lpstr>Aptos</vt:lpstr>
      <vt:lpstr>Aptos Display</vt:lpstr>
      <vt:lpstr>Arial</vt:lpstr>
      <vt:lpstr>Arial Black</vt:lpstr>
      <vt:lpstr>Calibri</vt:lpstr>
      <vt:lpstr>Century Gothic</vt:lpstr>
      <vt:lpstr>Comic Sans MS</vt:lpstr>
      <vt:lpstr>Consolas</vt:lpstr>
      <vt:lpstr>Segoe Pro Light</vt:lpstr>
      <vt:lpstr>Segoe UI</vt:lpstr>
      <vt:lpstr>Segoe UI Light</vt:lpstr>
      <vt:lpstr>Segoe UI Semibold</vt:lpstr>
      <vt:lpstr>Symbol</vt:lpstr>
      <vt:lpstr>Wingdings</vt:lpstr>
      <vt:lpstr>PASS 2013_SpeakerTemplate_Final</vt:lpstr>
      <vt:lpstr>Dark Blue</vt:lpstr>
      <vt:lpstr>Microsoft 365 PPT Template - 2018</vt:lpstr>
      <vt:lpstr>Office Theme</vt:lpstr>
      <vt:lpstr>1_Office Theme</vt:lpstr>
      <vt:lpstr>2_Office Theme</vt:lpstr>
      <vt:lpstr>Workshop</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Tu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66</cp:revision>
  <dcterms:created xsi:type="dcterms:W3CDTF">2015-01-18T17:57:52Z</dcterms:created>
  <dcterms:modified xsi:type="dcterms:W3CDTF">2024-04-20T12:25:38Z</dcterms:modified>
</cp:coreProperties>
</file>